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notesSlides/notesSlide7.xml" ContentType="application/vnd.openxmlformats-officedocument.presentationml.notesSlide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notesSlides/notesSlide8.xml" ContentType="application/vnd.openxmlformats-officedocument.presentationml.notesSlide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notesSlides/notesSlide9.xml" ContentType="application/vnd.openxmlformats-officedocument.presentationml.notesSlide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notesSlides/notesSlide10.xml" ContentType="application/vnd.openxmlformats-officedocument.presentationml.notesSlide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notesSlides/notesSlide11.xml" ContentType="application/vnd.openxmlformats-officedocument.presentationml.notesSlide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tags/tag5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notesSlides/notesSlide14.xml" ContentType="application/vnd.openxmlformats-officedocument.presentationml.notesSlide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notesSlides/notesSlide15.xml" ContentType="application/vnd.openxmlformats-officedocument.presentationml.notesSlide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notesSlides/notesSlide16.xml" ContentType="application/vnd.openxmlformats-officedocument.presentationml.notesSlide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6.xml" ContentType="application/vnd.openxmlformats-officedocument.presentationml.tags+xml"/>
  <Override PartName="/ppt/notesSlides/notesSlide21.xml" ContentType="application/vnd.openxmlformats-officedocument.presentationml.notesSlide+xml"/>
  <Override PartName="/ppt/tags/tag7.xml" ContentType="application/vnd.openxmlformats-officedocument.presentationml.tags+xml"/>
  <Override PartName="/ppt/notesSlides/notesSlide2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2" r:id="rId2"/>
  </p:sldMasterIdLst>
  <p:notesMasterIdLst>
    <p:notesMasterId r:id="rId60"/>
  </p:notesMasterIdLst>
  <p:sldIdLst>
    <p:sldId id="256" r:id="rId3"/>
    <p:sldId id="276" r:id="rId4"/>
    <p:sldId id="779" r:id="rId5"/>
    <p:sldId id="317" r:id="rId6"/>
    <p:sldId id="677" r:id="rId7"/>
    <p:sldId id="301" r:id="rId8"/>
    <p:sldId id="309" r:id="rId9"/>
    <p:sldId id="258" r:id="rId10"/>
    <p:sldId id="854" r:id="rId11"/>
    <p:sldId id="266" r:id="rId12"/>
    <p:sldId id="302" r:id="rId13"/>
    <p:sldId id="267" r:id="rId14"/>
    <p:sldId id="297" r:id="rId15"/>
    <p:sldId id="299" r:id="rId16"/>
    <p:sldId id="300" r:id="rId17"/>
    <p:sldId id="259" r:id="rId18"/>
    <p:sldId id="672" r:id="rId19"/>
    <p:sldId id="802" r:id="rId20"/>
    <p:sldId id="803" r:id="rId21"/>
    <p:sldId id="852" r:id="rId22"/>
    <p:sldId id="840" r:id="rId23"/>
    <p:sldId id="853" r:id="rId24"/>
    <p:sldId id="820" r:id="rId25"/>
    <p:sldId id="848" r:id="rId26"/>
    <p:sldId id="849" r:id="rId27"/>
    <p:sldId id="850" r:id="rId28"/>
    <p:sldId id="851" r:id="rId29"/>
    <p:sldId id="855" r:id="rId30"/>
    <p:sldId id="856" r:id="rId31"/>
    <p:sldId id="857" r:id="rId32"/>
    <p:sldId id="858" r:id="rId33"/>
    <p:sldId id="859" r:id="rId34"/>
    <p:sldId id="860" r:id="rId35"/>
    <p:sldId id="861" r:id="rId36"/>
    <p:sldId id="864" r:id="rId37"/>
    <p:sldId id="863" r:id="rId38"/>
    <p:sldId id="865" r:id="rId39"/>
    <p:sldId id="866" r:id="rId40"/>
    <p:sldId id="751" r:id="rId41"/>
    <p:sldId id="867" r:id="rId42"/>
    <p:sldId id="868" r:id="rId43"/>
    <p:sldId id="872" r:id="rId44"/>
    <p:sldId id="869" r:id="rId45"/>
    <p:sldId id="870" r:id="rId46"/>
    <p:sldId id="875" r:id="rId47"/>
    <p:sldId id="874" r:id="rId48"/>
    <p:sldId id="876" r:id="rId49"/>
    <p:sldId id="881" r:id="rId50"/>
    <p:sldId id="882" r:id="rId51"/>
    <p:sldId id="883" r:id="rId52"/>
    <p:sldId id="884" r:id="rId53"/>
    <p:sldId id="885" r:id="rId54"/>
    <p:sldId id="886" r:id="rId55"/>
    <p:sldId id="888" r:id="rId56"/>
    <p:sldId id="887" r:id="rId57"/>
    <p:sldId id="889" r:id="rId58"/>
    <p:sldId id="839" r:id="rId59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egidadmin" initials="c" lastIdx="1" clrIdx="0">
    <p:extLst>
      <p:ext uri="{19B8F6BF-5375-455C-9EA6-DF929625EA0E}">
        <p15:presenceInfo xmlns:p15="http://schemas.microsoft.com/office/powerpoint/2012/main" userId="cegidadmin" providerId="None"/>
      </p:ext>
    </p:extLst>
  </p:cmAuthor>
  <p:cmAuthor id="2" name="christophe CHUECOS-FONT" initials="cCF" lastIdx="1" clrIdx="1">
    <p:extLst>
      <p:ext uri="{19B8F6BF-5375-455C-9EA6-DF929625EA0E}">
        <p15:presenceInfo xmlns:p15="http://schemas.microsoft.com/office/powerpoint/2012/main" userId="christophe CHUECOS-FONT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C2EC605-E404-4336-B43F-526B56FEACCB}" v="985" dt="2021-03-12T13:10:21.58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60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32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63" Type="http://schemas.openxmlformats.org/officeDocument/2006/relationships/viewProps" Target="viewProp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66" Type="http://schemas.microsoft.com/office/2016/11/relationships/changesInfo" Target="changesInfos/changesInfo1.xml"/><Relationship Id="rId5" Type="http://schemas.openxmlformats.org/officeDocument/2006/relationships/slide" Target="slides/slide3.xml"/><Relationship Id="rId61" Type="http://schemas.openxmlformats.org/officeDocument/2006/relationships/commentAuthors" Target="commentAuthors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theme" Target="theme/theme1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microsoft.com/office/2015/10/relationships/revisionInfo" Target="revisionInfo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notesMaster" Target="notesMasters/notesMaster1.xml"/><Relationship Id="rId65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ristophe CHUECOS-FONT" userId="7e57acaa-4bc6-4644-8edc-0ecdded28594" providerId="ADAL" clId="{7C2EC605-E404-4336-B43F-526B56FEACCB}"/>
    <pc:docChg chg="undo custSel addSld delSld modSld sldOrd">
      <pc:chgData name="christophe CHUECOS-FONT" userId="7e57acaa-4bc6-4644-8edc-0ecdded28594" providerId="ADAL" clId="{7C2EC605-E404-4336-B43F-526B56FEACCB}" dt="2021-03-12T13:13:41.366" v="4081" actId="27636"/>
      <pc:docMkLst>
        <pc:docMk/>
      </pc:docMkLst>
      <pc:sldChg chg="modSp mod">
        <pc:chgData name="christophe CHUECOS-FONT" userId="7e57acaa-4bc6-4644-8edc-0ecdded28594" providerId="ADAL" clId="{7C2EC605-E404-4336-B43F-526B56FEACCB}" dt="2021-03-11T20:27:30.419" v="9" actId="20577"/>
        <pc:sldMkLst>
          <pc:docMk/>
          <pc:sldMk cId="3848639155" sldId="256"/>
        </pc:sldMkLst>
        <pc:spChg chg="mod">
          <ac:chgData name="christophe CHUECOS-FONT" userId="7e57acaa-4bc6-4644-8edc-0ecdded28594" providerId="ADAL" clId="{7C2EC605-E404-4336-B43F-526B56FEACCB}" dt="2021-03-11T20:27:30.419" v="9" actId="20577"/>
          <ac:spMkLst>
            <pc:docMk/>
            <pc:sldMk cId="3848639155" sldId="256"/>
            <ac:spMk id="3" creationId="{21349F9F-31B4-41DC-B4DB-C097467B5266}"/>
          </ac:spMkLst>
        </pc:spChg>
      </pc:sldChg>
      <pc:sldChg chg="ord">
        <pc:chgData name="christophe CHUECOS-FONT" userId="7e57acaa-4bc6-4644-8edc-0ecdded28594" providerId="ADAL" clId="{7C2EC605-E404-4336-B43F-526B56FEACCB}" dt="2021-03-11T21:01:44.962" v="483"/>
        <pc:sldMkLst>
          <pc:docMk/>
          <pc:sldMk cId="2831747057" sldId="258"/>
        </pc:sldMkLst>
      </pc:sldChg>
      <pc:sldChg chg="modSp mod">
        <pc:chgData name="christophe CHUECOS-FONT" userId="7e57acaa-4bc6-4644-8edc-0ecdded28594" providerId="ADAL" clId="{7C2EC605-E404-4336-B43F-526B56FEACCB}" dt="2021-03-12T06:04:27.934" v="2192" actId="20577"/>
        <pc:sldMkLst>
          <pc:docMk/>
          <pc:sldMk cId="3018494457" sldId="266"/>
        </pc:sldMkLst>
        <pc:spChg chg="mod">
          <ac:chgData name="christophe CHUECOS-FONT" userId="7e57acaa-4bc6-4644-8edc-0ecdded28594" providerId="ADAL" clId="{7C2EC605-E404-4336-B43F-526B56FEACCB}" dt="2021-03-12T06:04:27.934" v="2192" actId="20577"/>
          <ac:spMkLst>
            <pc:docMk/>
            <pc:sldMk cId="3018494457" sldId="266"/>
            <ac:spMk id="2" creationId="{00000000-0000-0000-0000-000000000000}"/>
          </ac:spMkLst>
        </pc:spChg>
      </pc:sldChg>
      <pc:sldChg chg="modSp mod">
        <pc:chgData name="christophe CHUECOS-FONT" userId="7e57acaa-4bc6-4644-8edc-0ecdded28594" providerId="ADAL" clId="{7C2EC605-E404-4336-B43F-526B56FEACCB}" dt="2021-03-12T06:05:21.204" v="2198" actId="20577"/>
        <pc:sldMkLst>
          <pc:docMk/>
          <pc:sldMk cId="1765093222" sldId="267"/>
        </pc:sldMkLst>
        <pc:spChg chg="mod">
          <ac:chgData name="christophe CHUECOS-FONT" userId="7e57acaa-4bc6-4644-8edc-0ecdded28594" providerId="ADAL" clId="{7C2EC605-E404-4336-B43F-526B56FEACCB}" dt="2021-03-12T06:05:21.204" v="2198" actId="20577"/>
          <ac:spMkLst>
            <pc:docMk/>
            <pc:sldMk cId="1765093222" sldId="267"/>
            <ac:spMk id="2" creationId="{00000000-0000-0000-0000-000000000000}"/>
          </ac:spMkLst>
        </pc:spChg>
      </pc:sldChg>
      <pc:sldChg chg="del">
        <pc:chgData name="christophe CHUECOS-FONT" userId="7e57acaa-4bc6-4644-8edc-0ecdded28594" providerId="ADAL" clId="{7C2EC605-E404-4336-B43F-526B56FEACCB}" dt="2021-03-11T21:02:21.687" v="484" actId="47"/>
        <pc:sldMkLst>
          <pc:docMk/>
          <pc:sldMk cId="1630508752" sldId="268"/>
        </pc:sldMkLst>
      </pc:sldChg>
      <pc:sldChg chg="del">
        <pc:chgData name="christophe CHUECOS-FONT" userId="7e57acaa-4bc6-4644-8edc-0ecdded28594" providerId="ADAL" clId="{7C2EC605-E404-4336-B43F-526B56FEACCB}" dt="2021-03-11T21:01:28.155" v="481" actId="47"/>
        <pc:sldMkLst>
          <pc:docMk/>
          <pc:sldMk cId="3317401215" sldId="270"/>
        </pc:sldMkLst>
      </pc:sldChg>
      <pc:sldChg chg="del">
        <pc:chgData name="christophe CHUECOS-FONT" userId="7e57acaa-4bc6-4644-8edc-0ecdded28594" providerId="ADAL" clId="{7C2EC605-E404-4336-B43F-526B56FEACCB}" dt="2021-03-11T21:03:16.624" v="490" actId="47"/>
        <pc:sldMkLst>
          <pc:docMk/>
          <pc:sldMk cId="1797359966" sldId="271"/>
        </pc:sldMkLst>
      </pc:sldChg>
      <pc:sldChg chg="del">
        <pc:chgData name="christophe CHUECOS-FONT" userId="7e57acaa-4bc6-4644-8edc-0ecdded28594" providerId="ADAL" clId="{7C2EC605-E404-4336-B43F-526B56FEACCB}" dt="2021-03-11T21:02:26.175" v="485" actId="47"/>
        <pc:sldMkLst>
          <pc:docMk/>
          <pc:sldMk cId="836064864" sldId="272"/>
        </pc:sldMkLst>
      </pc:sldChg>
      <pc:sldChg chg="del">
        <pc:chgData name="christophe CHUECOS-FONT" userId="7e57acaa-4bc6-4644-8edc-0ecdded28594" providerId="ADAL" clId="{7C2EC605-E404-4336-B43F-526B56FEACCB}" dt="2021-03-11T21:02:28.856" v="486" actId="47"/>
        <pc:sldMkLst>
          <pc:docMk/>
          <pc:sldMk cId="1463833097" sldId="274"/>
        </pc:sldMkLst>
      </pc:sldChg>
      <pc:sldChg chg="modSp mod">
        <pc:chgData name="christophe CHUECOS-FONT" userId="7e57acaa-4bc6-4644-8edc-0ecdded28594" providerId="ADAL" clId="{7C2EC605-E404-4336-B43F-526B56FEACCB}" dt="2021-03-11T20:28:35.186" v="39" actId="6549"/>
        <pc:sldMkLst>
          <pc:docMk/>
          <pc:sldMk cId="251691404" sldId="276"/>
        </pc:sldMkLst>
        <pc:graphicFrameChg chg="mod modGraphic">
          <ac:chgData name="christophe CHUECOS-FONT" userId="7e57acaa-4bc6-4644-8edc-0ecdded28594" providerId="ADAL" clId="{7C2EC605-E404-4336-B43F-526B56FEACCB}" dt="2021-03-11T20:28:35.186" v="39" actId="6549"/>
          <ac:graphicFrameMkLst>
            <pc:docMk/>
            <pc:sldMk cId="251691404" sldId="276"/>
            <ac:graphicFrameMk id="3" creationId="{90A39BD7-E179-4570-8079-E6A295B49267}"/>
          </ac:graphicFrameMkLst>
        </pc:graphicFrameChg>
      </pc:sldChg>
      <pc:sldChg chg="modSp mod">
        <pc:chgData name="christophe CHUECOS-FONT" userId="7e57acaa-4bc6-4644-8edc-0ecdded28594" providerId="ADAL" clId="{7C2EC605-E404-4336-B43F-526B56FEACCB}" dt="2021-03-12T06:05:28.147" v="2201" actId="6549"/>
        <pc:sldMkLst>
          <pc:docMk/>
          <pc:sldMk cId="1677432768" sldId="297"/>
        </pc:sldMkLst>
        <pc:spChg chg="mod">
          <ac:chgData name="christophe CHUECOS-FONT" userId="7e57acaa-4bc6-4644-8edc-0ecdded28594" providerId="ADAL" clId="{7C2EC605-E404-4336-B43F-526B56FEACCB}" dt="2021-03-12T06:05:28.147" v="2201" actId="6549"/>
          <ac:spMkLst>
            <pc:docMk/>
            <pc:sldMk cId="1677432768" sldId="297"/>
            <ac:spMk id="22" creationId="{00000000-0000-0000-0000-000000000000}"/>
          </ac:spMkLst>
        </pc:spChg>
      </pc:sldChg>
      <pc:sldChg chg="modSp mod ord">
        <pc:chgData name="christophe CHUECOS-FONT" userId="7e57acaa-4bc6-4644-8edc-0ecdded28594" providerId="ADAL" clId="{7C2EC605-E404-4336-B43F-526B56FEACCB}" dt="2021-03-12T06:02:24.619" v="2189" actId="6549"/>
        <pc:sldMkLst>
          <pc:docMk/>
          <pc:sldMk cId="3173007657" sldId="301"/>
        </pc:sldMkLst>
        <pc:spChg chg="mod">
          <ac:chgData name="christophe CHUECOS-FONT" userId="7e57acaa-4bc6-4644-8edc-0ecdded28594" providerId="ADAL" clId="{7C2EC605-E404-4336-B43F-526B56FEACCB}" dt="2021-03-12T06:02:24.619" v="2189" actId="6549"/>
          <ac:spMkLst>
            <pc:docMk/>
            <pc:sldMk cId="3173007657" sldId="301"/>
            <ac:spMk id="2" creationId="{00000000-0000-0000-0000-000000000000}"/>
          </ac:spMkLst>
        </pc:spChg>
        <pc:graphicFrameChg chg="mod">
          <ac:chgData name="christophe CHUECOS-FONT" userId="7e57acaa-4bc6-4644-8edc-0ecdded28594" providerId="ADAL" clId="{7C2EC605-E404-4336-B43F-526B56FEACCB}" dt="2021-03-11T21:00:16.663" v="467" actId="20577"/>
          <ac:graphicFrameMkLst>
            <pc:docMk/>
            <pc:sldMk cId="3173007657" sldId="301"/>
            <ac:graphicFrameMk id="4" creationId="{00000000-0000-0000-0000-000000000000}"/>
          </ac:graphicFrameMkLst>
        </pc:graphicFrameChg>
      </pc:sldChg>
      <pc:sldChg chg="modSp mod">
        <pc:chgData name="christophe CHUECOS-FONT" userId="7e57acaa-4bc6-4644-8edc-0ecdded28594" providerId="ADAL" clId="{7C2EC605-E404-4336-B43F-526B56FEACCB}" dt="2021-03-12T06:04:35.188" v="2195" actId="20577"/>
        <pc:sldMkLst>
          <pc:docMk/>
          <pc:sldMk cId="1804052538" sldId="302"/>
        </pc:sldMkLst>
        <pc:spChg chg="mod">
          <ac:chgData name="christophe CHUECOS-FONT" userId="7e57acaa-4bc6-4644-8edc-0ecdded28594" providerId="ADAL" clId="{7C2EC605-E404-4336-B43F-526B56FEACCB}" dt="2021-03-12T06:04:35.188" v="2195" actId="20577"/>
          <ac:spMkLst>
            <pc:docMk/>
            <pc:sldMk cId="1804052538" sldId="302"/>
            <ac:spMk id="2" creationId="{00000000-0000-0000-0000-000000000000}"/>
          </ac:spMkLst>
        </pc:spChg>
      </pc:sldChg>
      <pc:sldChg chg="del">
        <pc:chgData name="christophe CHUECOS-FONT" userId="7e57acaa-4bc6-4644-8edc-0ecdded28594" providerId="ADAL" clId="{7C2EC605-E404-4336-B43F-526B56FEACCB}" dt="2021-03-11T21:01:28.155" v="481" actId="47"/>
        <pc:sldMkLst>
          <pc:docMk/>
          <pc:sldMk cId="1856076245" sldId="303"/>
        </pc:sldMkLst>
      </pc:sldChg>
      <pc:sldChg chg="del">
        <pc:chgData name="christophe CHUECOS-FONT" userId="7e57acaa-4bc6-4644-8edc-0ecdded28594" providerId="ADAL" clId="{7C2EC605-E404-4336-B43F-526B56FEACCB}" dt="2021-03-11T21:01:28.155" v="481" actId="47"/>
        <pc:sldMkLst>
          <pc:docMk/>
          <pc:sldMk cId="2084458359" sldId="304"/>
        </pc:sldMkLst>
      </pc:sldChg>
      <pc:sldChg chg="del">
        <pc:chgData name="christophe CHUECOS-FONT" userId="7e57acaa-4bc6-4644-8edc-0ecdded28594" providerId="ADAL" clId="{7C2EC605-E404-4336-B43F-526B56FEACCB}" dt="2021-03-11T21:03:07.001" v="489" actId="47"/>
        <pc:sldMkLst>
          <pc:docMk/>
          <pc:sldMk cId="2763737370" sldId="305"/>
        </pc:sldMkLst>
      </pc:sldChg>
      <pc:sldChg chg="del">
        <pc:chgData name="christophe CHUECOS-FONT" userId="7e57acaa-4bc6-4644-8edc-0ecdded28594" providerId="ADAL" clId="{7C2EC605-E404-4336-B43F-526B56FEACCB}" dt="2021-03-11T21:01:28.155" v="481" actId="47"/>
        <pc:sldMkLst>
          <pc:docMk/>
          <pc:sldMk cId="3745451881" sldId="306"/>
        </pc:sldMkLst>
      </pc:sldChg>
      <pc:sldChg chg="ord">
        <pc:chgData name="christophe CHUECOS-FONT" userId="7e57acaa-4bc6-4644-8edc-0ecdded28594" providerId="ADAL" clId="{7C2EC605-E404-4336-B43F-526B56FEACCB}" dt="2021-03-11T21:02:43.210" v="488"/>
        <pc:sldMkLst>
          <pc:docMk/>
          <pc:sldMk cId="2883904425" sldId="309"/>
        </pc:sldMkLst>
      </pc:sldChg>
      <pc:sldChg chg="del">
        <pc:chgData name="christophe CHUECOS-FONT" userId="7e57acaa-4bc6-4644-8edc-0ecdded28594" providerId="ADAL" clId="{7C2EC605-E404-4336-B43F-526B56FEACCB}" dt="2021-03-11T21:01:28.155" v="481" actId="47"/>
        <pc:sldMkLst>
          <pc:docMk/>
          <pc:sldMk cId="2990753784" sldId="316"/>
        </pc:sldMkLst>
      </pc:sldChg>
      <pc:sldChg chg="ord">
        <pc:chgData name="christophe CHUECOS-FONT" userId="7e57acaa-4bc6-4644-8edc-0ecdded28594" providerId="ADAL" clId="{7C2EC605-E404-4336-B43F-526B56FEACCB}" dt="2021-03-11T21:12:53.769" v="538"/>
        <pc:sldMkLst>
          <pc:docMk/>
          <pc:sldMk cId="1655996761" sldId="317"/>
        </pc:sldMkLst>
      </pc:sldChg>
      <pc:sldChg chg="modSp mod">
        <pc:chgData name="christophe CHUECOS-FONT" userId="7e57acaa-4bc6-4644-8edc-0ecdded28594" providerId="ADAL" clId="{7C2EC605-E404-4336-B43F-526B56FEACCB}" dt="2021-03-11T20:31:55.351" v="102" actId="20577"/>
        <pc:sldMkLst>
          <pc:docMk/>
          <pc:sldMk cId="649958680" sldId="672"/>
        </pc:sldMkLst>
        <pc:spChg chg="mod">
          <ac:chgData name="christophe CHUECOS-FONT" userId="7e57acaa-4bc6-4644-8edc-0ecdded28594" providerId="ADAL" clId="{7C2EC605-E404-4336-B43F-526B56FEACCB}" dt="2021-03-11T20:31:13.462" v="83" actId="6549"/>
          <ac:spMkLst>
            <pc:docMk/>
            <pc:sldMk cId="649958680" sldId="672"/>
            <ac:spMk id="2" creationId="{55455007-8AF7-4CFF-8B0D-381E697B6724}"/>
          </ac:spMkLst>
        </pc:spChg>
        <pc:graphicFrameChg chg="mod">
          <ac:chgData name="christophe CHUECOS-FONT" userId="7e57acaa-4bc6-4644-8edc-0ecdded28594" providerId="ADAL" clId="{7C2EC605-E404-4336-B43F-526B56FEACCB}" dt="2021-03-11T20:31:55.351" v="102" actId="20577"/>
          <ac:graphicFrameMkLst>
            <pc:docMk/>
            <pc:sldMk cId="649958680" sldId="672"/>
            <ac:graphicFrameMk id="5" creationId="{0C899C7D-CFDA-4D32-B2E9-07B40C3BB1B2}"/>
          </ac:graphicFrameMkLst>
        </pc:graphicFrameChg>
      </pc:sldChg>
      <pc:sldChg chg="modSp mod ord">
        <pc:chgData name="christophe CHUECOS-FONT" userId="7e57acaa-4bc6-4644-8edc-0ecdded28594" providerId="ADAL" clId="{7C2EC605-E404-4336-B43F-526B56FEACCB}" dt="2021-03-11T21:00:36.640" v="480" actId="20577"/>
        <pc:sldMkLst>
          <pc:docMk/>
          <pc:sldMk cId="3843576302" sldId="677"/>
        </pc:sldMkLst>
        <pc:spChg chg="mod">
          <ac:chgData name="christophe CHUECOS-FONT" userId="7e57acaa-4bc6-4644-8edc-0ecdded28594" providerId="ADAL" clId="{7C2EC605-E404-4336-B43F-526B56FEACCB}" dt="2021-03-11T21:00:36.640" v="480" actId="20577"/>
          <ac:spMkLst>
            <pc:docMk/>
            <pc:sldMk cId="3843576302" sldId="677"/>
            <ac:spMk id="2" creationId="{02517F6E-26E9-44E8-815E-774552D95FD0}"/>
          </ac:spMkLst>
        </pc:spChg>
      </pc:sldChg>
      <pc:sldChg chg="del">
        <pc:chgData name="christophe CHUECOS-FONT" userId="7e57acaa-4bc6-4644-8edc-0ecdded28594" providerId="ADAL" clId="{7C2EC605-E404-4336-B43F-526B56FEACCB}" dt="2021-03-11T21:44:39.940" v="2147" actId="47"/>
        <pc:sldMkLst>
          <pc:docMk/>
          <pc:sldMk cId="2860654540" sldId="696"/>
        </pc:sldMkLst>
      </pc:sldChg>
      <pc:sldChg chg="modSp mod">
        <pc:chgData name="christophe CHUECOS-FONT" userId="7e57acaa-4bc6-4644-8edc-0ecdded28594" providerId="ADAL" clId="{7C2EC605-E404-4336-B43F-526B56FEACCB}" dt="2021-03-11T20:30:49.892" v="49" actId="13926"/>
        <pc:sldMkLst>
          <pc:docMk/>
          <pc:sldMk cId="3945995144" sldId="779"/>
        </pc:sldMkLst>
        <pc:spChg chg="mod">
          <ac:chgData name="christophe CHUECOS-FONT" userId="7e57acaa-4bc6-4644-8edc-0ecdded28594" providerId="ADAL" clId="{7C2EC605-E404-4336-B43F-526B56FEACCB}" dt="2021-03-11T20:30:49.892" v="49" actId="13926"/>
          <ac:spMkLst>
            <pc:docMk/>
            <pc:sldMk cId="3945995144" sldId="779"/>
            <ac:spMk id="14" creationId="{81D349E7-2792-4173-B922-B597DE13B126}"/>
          </ac:spMkLst>
        </pc:spChg>
      </pc:sldChg>
      <pc:sldChg chg="del">
        <pc:chgData name="christophe CHUECOS-FONT" userId="7e57acaa-4bc6-4644-8edc-0ecdded28594" providerId="ADAL" clId="{7C2EC605-E404-4336-B43F-526B56FEACCB}" dt="2021-03-11T21:44:49.298" v="2162" actId="47"/>
        <pc:sldMkLst>
          <pc:docMk/>
          <pc:sldMk cId="1394971565" sldId="791"/>
        </pc:sldMkLst>
      </pc:sldChg>
      <pc:sldChg chg="modSp del mod ord">
        <pc:chgData name="christophe CHUECOS-FONT" userId="7e57acaa-4bc6-4644-8edc-0ecdded28594" providerId="ADAL" clId="{7C2EC605-E404-4336-B43F-526B56FEACCB}" dt="2021-03-12T06:13:58.149" v="2345" actId="47"/>
        <pc:sldMkLst>
          <pc:docMk/>
          <pc:sldMk cId="2165141887" sldId="793"/>
        </pc:sldMkLst>
        <pc:spChg chg="mod">
          <ac:chgData name="christophe CHUECOS-FONT" userId="7e57acaa-4bc6-4644-8edc-0ecdded28594" providerId="ADAL" clId="{7C2EC605-E404-4336-B43F-526B56FEACCB}" dt="2021-03-11T21:37:52.123" v="1766" actId="20577"/>
          <ac:spMkLst>
            <pc:docMk/>
            <pc:sldMk cId="2165141887" sldId="793"/>
            <ac:spMk id="2" creationId="{00000000-0000-0000-0000-000000000000}"/>
          </ac:spMkLst>
        </pc:spChg>
        <pc:spChg chg="mod">
          <ac:chgData name="christophe CHUECOS-FONT" userId="7e57acaa-4bc6-4644-8edc-0ecdded28594" providerId="ADAL" clId="{7C2EC605-E404-4336-B43F-526B56FEACCB}" dt="2021-03-12T06:09:01.438" v="2287" actId="20577"/>
          <ac:spMkLst>
            <pc:docMk/>
            <pc:sldMk cId="2165141887" sldId="793"/>
            <ac:spMk id="3" creationId="{060668A1-F703-43F0-AA81-AEEE6C0B4942}"/>
          </ac:spMkLst>
        </pc:spChg>
      </pc:sldChg>
      <pc:sldChg chg="del">
        <pc:chgData name="christophe CHUECOS-FONT" userId="7e57acaa-4bc6-4644-8edc-0ecdded28594" providerId="ADAL" clId="{7C2EC605-E404-4336-B43F-526B56FEACCB}" dt="2021-03-11T21:44:37.565" v="2137" actId="47"/>
        <pc:sldMkLst>
          <pc:docMk/>
          <pc:sldMk cId="348824562" sldId="795"/>
        </pc:sldMkLst>
      </pc:sldChg>
      <pc:sldChg chg="del">
        <pc:chgData name="christophe CHUECOS-FONT" userId="7e57acaa-4bc6-4644-8edc-0ecdded28594" providerId="ADAL" clId="{7C2EC605-E404-4336-B43F-526B56FEACCB}" dt="2021-03-11T21:44:37.900" v="2138" actId="47"/>
        <pc:sldMkLst>
          <pc:docMk/>
          <pc:sldMk cId="2744456229" sldId="796"/>
        </pc:sldMkLst>
      </pc:sldChg>
      <pc:sldChg chg="del">
        <pc:chgData name="christophe CHUECOS-FONT" userId="7e57acaa-4bc6-4644-8edc-0ecdded28594" providerId="ADAL" clId="{7C2EC605-E404-4336-B43F-526B56FEACCB}" dt="2021-03-11T21:44:38.227" v="2139" actId="47"/>
        <pc:sldMkLst>
          <pc:docMk/>
          <pc:sldMk cId="1270884533" sldId="797"/>
        </pc:sldMkLst>
      </pc:sldChg>
      <pc:sldChg chg="del">
        <pc:chgData name="christophe CHUECOS-FONT" userId="7e57acaa-4bc6-4644-8edc-0ecdded28594" providerId="ADAL" clId="{7C2EC605-E404-4336-B43F-526B56FEACCB}" dt="2021-03-11T21:44:38.443" v="2140" actId="47"/>
        <pc:sldMkLst>
          <pc:docMk/>
          <pc:sldMk cId="1165143180" sldId="798"/>
        </pc:sldMkLst>
      </pc:sldChg>
      <pc:sldChg chg="del">
        <pc:chgData name="christophe CHUECOS-FONT" userId="7e57acaa-4bc6-4644-8edc-0ecdded28594" providerId="ADAL" clId="{7C2EC605-E404-4336-B43F-526B56FEACCB}" dt="2021-03-11T21:44:38.679" v="2141" actId="47"/>
        <pc:sldMkLst>
          <pc:docMk/>
          <pc:sldMk cId="101625330" sldId="799"/>
        </pc:sldMkLst>
      </pc:sldChg>
      <pc:sldChg chg="del">
        <pc:chgData name="christophe CHUECOS-FONT" userId="7e57acaa-4bc6-4644-8edc-0ecdded28594" providerId="ADAL" clId="{7C2EC605-E404-4336-B43F-526B56FEACCB}" dt="2021-03-11T21:44:38.885" v="2142" actId="47"/>
        <pc:sldMkLst>
          <pc:docMk/>
          <pc:sldMk cId="2768516613" sldId="800"/>
        </pc:sldMkLst>
      </pc:sldChg>
      <pc:sldChg chg="del">
        <pc:chgData name="christophe CHUECOS-FONT" userId="7e57acaa-4bc6-4644-8edc-0ecdded28594" providerId="ADAL" clId="{7C2EC605-E404-4336-B43F-526B56FEACCB}" dt="2021-03-11T21:44:34.457" v="2135" actId="47"/>
        <pc:sldMkLst>
          <pc:docMk/>
          <pc:sldMk cId="616563278" sldId="801"/>
        </pc:sldMkLst>
      </pc:sldChg>
      <pc:sldChg chg="addSp delSp modSp mod ord">
        <pc:chgData name="christophe CHUECOS-FONT" userId="7e57acaa-4bc6-4644-8edc-0ecdded28594" providerId="ADAL" clId="{7C2EC605-E404-4336-B43F-526B56FEACCB}" dt="2021-03-11T21:04:39.893" v="494"/>
        <pc:sldMkLst>
          <pc:docMk/>
          <pc:sldMk cId="2909694736" sldId="802"/>
        </pc:sldMkLst>
        <pc:spChg chg="mod">
          <ac:chgData name="christophe CHUECOS-FONT" userId="7e57acaa-4bc6-4644-8edc-0ecdded28594" providerId="ADAL" clId="{7C2EC605-E404-4336-B43F-526B56FEACCB}" dt="2021-03-11T20:33:31.541" v="141" actId="6549"/>
          <ac:spMkLst>
            <pc:docMk/>
            <pc:sldMk cId="2909694736" sldId="802"/>
            <ac:spMk id="2" creationId="{A642374E-6CC0-4655-B9AB-1F032152246A}"/>
          </ac:spMkLst>
        </pc:spChg>
        <pc:spChg chg="add del mod">
          <ac:chgData name="christophe CHUECOS-FONT" userId="7e57acaa-4bc6-4644-8edc-0ecdded28594" providerId="ADAL" clId="{7C2EC605-E404-4336-B43F-526B56FEACCB}" dt="2021-03-11T20:33:02.923" v="107"/>
          <ac:spMkLst>
            <pc:docMk/>
            <pc:sldMk cId="2909694736" sldId="802"/>
            <ac:spMk id="5" creationId="{F051F31C-D750-4CC3-ACEE-30BD91FF39D4}"/>
          </ac:spMkLst>
        </pc:spChg>
        <pc:graphicFrameChg chg="del mod modGraphic">
          <ac:chgData name="christophe CHUECOS-FONT" userId="7e57acaa-4bc6-4644-8edc-0ecdded28594" providerId="ADAL" clId="{7C2EC605-E404-4336-B43F-526B56FEACCB}" dt="2021-03-11T20:33:00.266" v="106" actId="478"/>
          <ac:graphicFrameMkLst>
            <pc:docMk/>
            <pc:sldMk cId="2909694736" sldId="802"/>
            <ac:graphicFrameMk id="4" creationId="{CC3EDAFB-F998-43F9-B64D-6ABC31FC6876}"/>
          </ac:graphicFrameMkLst>
        </pc:graphicFrameChg>
        <pc:graphicFrameChg chg="add mod modGraphic">
          <ac:chgData name="christophe CHUECOS-FONT" userId="7e57acaa-4bc6-4644-8edc-0ecdded28594" providerId="ADAL" clId="{7C2EC605-E404-4336-B43F-526B56FEACCB}" dt="2021-03-11T20:34:57.696" v="149" actId="14100"/>
          <ac:graphicFrameMkLst>
            <pc:docMk/>
            <pc:sldMk cId="2909694736" sldId="802"/>
            <ac:graphicFrameMk id="6" creationId="{A382068A-085B-4EB0-86C0-4EB1EB863BD8}"/>
          </ac:graphicFrameMkLst>
        </pc:graphicFrameChg>
      </pc:sldChg>
      <pc:sldChg chg="addSp delSp modSp mod ord">
        <pc:chgData name="christophe CHUECOS-FONT" userId="7e57acaa-4bc6-4644-8edc-0ecdded28594" providerId="ADAL" clId="{7C2EC605-E404-4336-B43F-526B56FEACCB}" dt="2021-03-11T21:04:44.698" v="496"/>
        <pc:sldMkLst>
          <pc:docMk/>
          <pc:sldMk cId="2502557485" sldId="803"/>
        </pc:sldMkLst>
        <pc:spChg chg="add del mod">
          <ac:chgData name="christophe CHUECOS-FONT" userId="7e57acaa-4bc6-4644-8edc-0ecdded28594" providerId="ADAL" clId="{7C2EC605-E404-4336-B43F-526B56FEACCB}" dt="2021-03-11T20:36:22.750" v="153"/>
          <ac:spMkLst>
            <pc:docMk/>
            <pc:sldMk cId="2502557485" sldId="803"/>
            <ac:spMk id="3" creationId="{0929EDE9-7FD0-49E0-BEBB-D87B601AF85A}"/>
          </ac:spMkLst>
        </pc:spChg>
        <pc:spChg chg="add del mod">
          <ac:chgData name="christophe CHUECOS-FONT" userId="7e57acaa-4bc6-4644-8edc-0ecdded28594" providerId="ADAL" clId="{7C2EC605-E404-4336-B43F-526B56FEACCB}" dt="2021-03-11T20:41:43.343" v="238"/>
          <ac:spMkLst>
            <pc:docMk/>
            <pc:sldMk cId="2502557485" sldId="803"/>
            <ac:spMk id="7" creationId="{FF759D2C-6502-48C9-9D54-1E29DA1F485D}"/>
          </ac:spMkLst>
        </pc:spChg>
        <pc:graphicFrameChg chg="add mod modGraphic">
          <ac:chgData name="christophe CHUECOS-FONT" userId="7e57acaa-4bc6-4644-8edc-0ecdded28594" providerId="ADAL" clId="{7C2EC605-E404-4336-B43F-526B56FEACCB}" dt="2021-03-11T20:44:04.063" v="257" actId="20577"/>
          <ac:graphicFrameMkLst>
            <pc:docMk/>
            <pc:sldMk cId="2502557485" sldId="803"/>
            <ac:graphicFrameMk id="4" creationId="{7658FEE6-1FE3-4898-8C0C-C984E96DB933}"/>
          </ac:graphicFrameMkLst>
        </pc:graphicFrameChg>
        <pc:picChg chg="add del mod">
          <ac:chgData name="christophe CHUECOS-FONT" userId="7e57acaa-4bc6-4644-8edc-0ecdded28594" providerId="ADAL" clId="{7C2EC605-E404-4336-B43F-526B56FEACCB}" dt="2021-03-11T20:37:35.653" v="163" actId="478"/>
          <ac:picMkLst>
            <pc:docMk/>
            <pc:sldMk cId="2502557485" sldId="803"/>
            <ac:picMk id="5" creationId="{B92FB0F1-932C-4D96-A9B8-CE1F67FB16D1}"/>
          </ac:picMkLst>
        </pc:picChg>
        <pc:picChg chg="del">
          <ac:chgData name="christophe CHUECOS-FONT" userId="7e57acaa-4bc6-4644-8edc-0ecdded28594" providerId="ADAL" clId="{7C2EC605-E404-4336-B43F-526B56FEACCB}" dt="2021-03-11T20:35:13.473" v="150" actId="478"/>
          <ac:picMkLst>
            <pc:docMk/>
            <pc:sldMk cId="2502557485" sldId="803"/>
            <ac:picMk id="6" creationId="{2D812DF3-F77A-4D7C-A90B-91F94A0E2845}"/>
          </ac:picMkLst>
        </pc:picChg>
      </pc:sldChg>
      <pc:sldChg chg="del">
        <pc:chgData name="christophe CHUECOS-FONT" userId="7e57acaa-4bc6-4644-8edc-0ecdded28594" providerId="ADAL" clId="{7C2EC605-E404-4336-B43F-526B56FEACCB}" dt="2021-03-11T20:35:20.453" v="151" actId="47"/>
        <pc:sldMkLst>
          <pc:docMk/>
          <pc:sldMk cId="1729444894" sldId="804"/>
        </pc:sldMkLst>
      </pc:sldChg>
      <pc:sldChg chg="del">
        <pc:chgData name="christophe CHUECOS-FONT" userId="7e57acaa-4bc6-4644-8edc-0ecdded28594" providerId="ADAL" clId="{7C2EC605-E404-4336-B43F-526B56FEACCB}" dt="2021-03-11T20:35:21.876" v="152" actId="47"/>
        <pc:sldMkLst>
          <pc:docMk/>
          <pc:sldMk cId="4183606693" sldId="805"/>
        </pc:sldMkLst>
      </pc:sldChg>
      <pc:sldChg chg="del">
        <pc:chgData name="christophe CHUECOS-FONT" userId="7e57acaa-4bc6-4644-8edc-0ecdded28594" providerId="ADAL" clId="{7C2EC605-E404-4336-B43F-526B56FEACCB}" dt="2021-03-11T21:44:39.137" v="2143" actId="47"/>
        <pc:sldMkLst>
          <pc:docMk/>
          <pc:sldMk cId="4283212658" sldId="806"/>
        </pc:sldMkLst>
      </pc:sldChg>
      <pc:sldChg chg="del">
        <pc:chgData name="christophe CHUECOS-FONT" userId="7e57acaa-4bc6-4644-8edc-0ecdded28594" providerId="ADAL" clId="{7C2EC605-E404-4336-B43F-526B56FEACCB}" dt="2021-03-11T21:44:39.336" v="2144" actId="47"/>
        <pc:sldMkLst>
          <pc:docMk/>
          <pc:sldMk cId="341887362" sldId="807"/>
        </pc:sldMkLst>
      </pc:sldChg>
      <pc:sldChg chg="del">
        <pc:chgData name="christophe CHUECOS-FONT" userId="7e57acaa-4bc6-4644-8edc-0ecdded28594" providerId="ADAL" clId="{7C2EC605-E404-4336-B43F-526B56FEACCB}" dt="2021-03-11T21:44:39.530" v="2145" actId="47"/>
        <pc:sldMkLst>
          <pc:docMk/>
          <pc:sldMk cId="146244792" sldId="808"/>
        </pc:sldMkLst>
      </pc:sldChg>
      <pc:sldChg chg="del">
        <pc:chgData name="christophe CHUECOS-FONT" userId="7e57acaa-4bc6-4644-8edc-0ecdded28594" providerId="ADAL" clId="{7C2EC605-E404-4336-B43F-526B56FEACCB}" dt="2021-03-11T21:44:39.734" v="2146" actId="47"/>
        <pc:sldMkLst>
          <pc:docMk/>
          <pc:sldMk cId="786429784" sldId="809"/>
        </pc:sldMkLst>
      </pc:sldChg>
      <pc:sldChg chg="del">
        <pc:chgData name="christophe CHUECOS-FONT" userId="7e57acaa-4bc6-4644-8edc-0ecdded28594" providerId="ADAL" clId="{7C2EC605-E404-4336-B43F-526B56FEACCB}" dt="2021-03-11T21:44:40.847" v="2148" actId="47"/>
        <pc:sldMkLst>
          <pc:docMk/>
          <pc:sldMk cId="1509567761" sldId="810"/>
        </pc:sldMkLst>
      </pc:sldChg>
      <pc:sldChg chg="del">
        <pc:chgData name="christophe CHUECOS-FONT" userId="7e57acaa-4bc6-4644-8edc-0ecdded28594" providerId="ADAL" clId="{7C2EC605-E404-4336-B43F-526B56FEACCB}" dt="2021-03-11T21:44:41.305" v="2149" actId="47"/>
        <pc:sldMkLst>
          <pc:docMk/>
          <pc:sldMk cId="3563599702" sldId="811"/>
        </pc:sldMkLst>
      </pc:sldChg>
      <pc:sldChg chg="del">
        <pc:chgData name="christophe CHUECOS-FONT" userId="7e57acaa-4bc6-4644-8edc-0ecdded28594" providerId="ADAL" clId="{7C2EC605-E404-4336-B43F-526B56FEACCB}" dt="2021-03-11T21:44:42.095" v="2150" actId="47"/>
        <pc:sldMkLst>
          <pc:docMk/>
          <pc:sldMk cId="582496387" sldId="812"/>
        </pc:sldMkLst>
      </pc:sldChg>
      <pc:sldChg chg="del">
        <pc:chgData name="christophe CHUECOS-FONT" userId="7e57acaa-4bc6-4644-8edc-0ecdded28594" providerId="ADAL" clId="{7C2EC605-E404-4336-B43F-526B56FEACCB}" dt="2021-03-11T21:44:49.250" v="2160" actId="47"/>
        <pc:sldMkLst>
          <pc:docMk/>
          <pc:sldMk cId="1407863262" sldId="813"/>
        </pc:sldMkLst>
      </pc:sldChg>
      <pc:sldChg chg="del">
        <pc:chgData name="christophe CHUECOS-FONT" userId="7e57acaa-4bc6-4644-8edc-0ecdded28594" providerId="ADAL" clId="{7C2EC605-E404-4336-B43F-526B56FEACCB}" dt="2021-03-11T21:44:42.644" v="2151" actId="47"/>
        <pc:sldMkLst>
          <pc:docMk/>
          <pc:sldMk cId="2694326480" sldId="814"/>
        </pc:sldMkLst>
      </pc:sldChg>
      <pc:sldChg chg="del">
        <pc:chgData name="christophe CHUECOS-FONT" userId="7e57acaa-4bc6-4644-8edc-0ecdded28594" providerId="ADAL" clId="{7C2EC605-E404-4336-B43F-526B56FEACCB}" dt="2021-03-11T21:44:51.301" v="2165" actId="47"/>
        <pc:sldMkLst>
          <pc:docMk/>
          <pc:sldMk cId="3302025266" sldId="815"/>
        </pc:sldMkLst>
      </pc:sldChg>
      <pc:sldChg chg="del">
        <pc:chgData name="christophe CHUECOS-FONT" userId="7e57acaa-4bc6-4644-8edc-0ecdded28594" providerId="ADAL" clId="{7C2EC605-E404-4336-B43F-526B56FEACCB}" dt="2021-03-11T21:44:49.383" v="2163" actId="47"/>
        <pc:sldMkLst>
          <pc:docMk/>
          <pc:sldMk cId="1406193019" sldId="816"/>
        </pc:sldMkLst>
      </pc:sldChg>
      <pc:sldChg chg="del">
        <pc:chgData name="christophe CHUECOS-FONT" userId="7e57acaa-4bc6-4644-8edc-0ecdded28594" providerId="ADAL" clId="{7C2EC605-E404-4336-B43F-526B56FEACCB}" dt="2021-03-11T21:44:51.812" v="2166" actId="47"/>
        <pc:sldMkLst>
          <pc:docMk/>
          <pc:sldMk cId="2821461674" sldId="817"/>
        </pc:sldMkLst>
      </pc:sldChg>
      <pc:sldChg chg="del">
        <pc:chgData name="christophe CHUECOS-FONT" userId="7e57acaa-4bc6-4644-8edc-0ecdded28594" providerId="ADAL" clId="{7C2EC605-E404-4336-B43F-526B56FEACCB}" dt="2021-03-11T21:44:52.210" v="2167" actId="47"/>
        <pc:sldMkLst>
          <pc:docMk/>
          <pc:sldMk cId="1907489512" sldId="818"/>
        </pc:sldMkLst>
      </pc:sldChg>
      <pc:sldChg chg="del">
        <pc:chgData name="christophe CHUECOS-FONT" userId="7e57acaa-4bc6-4644-8edc-0ecdded28594" providerId="ADAL" clId="{7C2EC605-E404-4336-B43F-526B56FEACCB}" dt="2021-03-11T21:44:52.784" v="2168" actId="47"/>
        <pc:sldMkLst>
          <pc:docMk/>
          <pc:sldMk cId="205809851" sldId="819"/>
        </pc:sldMkLst>
      </pc:sldChg>
      <pc:sldChg chg="addSp modSp mod ord">
        <pc:chgData name="christophe CHUECOS-FONT" userId="7e57acaa-4bc6-4644-8edc-0ecdded28594" providerId="ADAL" clId="{7C2EC605-E404-4336-B43F-526B56FEACCB}" dt="2021-03-11T21:27:27.010" v="1065" actId="14100"/>
        <pc:sldMkLst>
          <pc:docMk/>
          <pc:sldMk cId="3840082568" sldId="820"/>
        </pc:sldMkLst>
        <pc:spChg chg="mod">
          <ac:chgData name="christophe CHUECOS-FONT" userId="7e57acaa-4bc6-4644-8edc-0ecdded28594" providerId="ADAL" clId="{7C2EC605-E404-4336-B43F-526B56FEACCB}" dt="2021-03-11T21:15:04.960" v="608" actId="6549"/>
          <ac:spMkLst>
            <pc:docMk/>
            <pc:sldMk cId="3840082568" sldId="820"/>
            <ac:spMk id="2" creationId="{02517F6E-26E9-44E8-815E-774552D95FD0}"/>
          </ac:spMkLst>
        </pc:spChg>
        <pc:spChg chg="add mod">
          <ac:chgData name="christophe CHUECOS-FONT" userId="7e57acaa-4bc6-4644-8edc-0ecdded28594" providerId="ADAL" clId="{7C2EC605-E404-4336-B43F-526B56FEACCB}" dt="2021-03-11T21:27:16.320" v="1064" actId="20577"/>
          <ac:spMkLst>
            <pc:docMk/>
            <pc:sldMk cId="3840082568" sldId="820"/>
            <ac:spMk id="3" creationId="{AD2A1ED3-37E2-4CA7-9B30-8E6FAAECBB8C}"/>
          </ac:spMkLst>
        </pc:spChg>
        <pc:spChg chg="mod">
          <ac:chgData name="christophe CHUECOS-FONT" userId="7e57acaa-4bc6-4644-8edc-0ecdded28594" providerId="ADAL" clId="{7C2EC605-E404-4336-B43F-526B56FEACCB}" dt="2021-03-11T21:27:27.010" v="1065" actId="14100"/>
          <ac:spMkLst>
            <pc:docMk/>
            <pc:sldMk cId="3840082568" sldId="820"/>
            <ac:spMk id="4" creationId="{AE196125-F657-4A8D-BF6F-9D35E2A19BAA}"/>
          </ac:spMkLst>
        </pc:spChg>
      </pc:sldChg>
      <pc:sldChg chg="del">
        <pc:chgData name="christophe CHUECOS-FONT" userId="7e57acaa-4bc6-4644-8edc-0ecdded28594" providerId="ADAL" clId="{7C2EC605-E404-4336-B43F-526B56FEACCB}" dt="2021-03-11T21:44:42.974" v="2152" actId="47"/>
        <pc:sldMkLst>
          <pc:docMk/>
          <pc:sldMk cId="3405380316" sldId="821"/>
        </pc:sldMkLst>
      </pc:sldChg>
      <pc:sldChg chg="del">
        <pc:chgData name="christophe CHUECOS-FONT" userId="7e57acaa-4bc6-4644-8edc-0ecdded28594" providerId="ADAL" clId="{7C2EC605-E404-4336-B43F-526B56FEACCB}" dt="2021-03-11T21:44:43.214" v="2153" actId="47"/>
        <pc:sldMkLst>
          <pc:docMk/>
          <pc:sldMk cId="1547220275" sldId="822"/>
        </pc:sldMkLst>
      </pc:sldChg>
      <pc:sldChg chg="del">
        <pc:chgData name="christophe CHUECOS-FONT" userId="7e57acaa-4bc6-4644-8edc-0ecdded28594" providerId="ADAL" clId="{7C2EC605-E404-4336-B43F-526B56FEACCB}" dt="2021-03-11T21:44:43.363" v="2154" actId="47"/>
        <pc:sldMkLst>
          <pc:docMk/>
          <pc:sldMk cId="3567573206" sldId="823"/>
        </pc:sldMkLst>
      </pc:sldChg>
      <pc:sldChg chg="del">
        <pc:chgData name="christophe CHUECOS-FONT" userId="7e57acaa-4bc6-4644-8edc-0ecdded28594" providerId="ADAL" clId="{7C2EC605-E404-4336-B43F-526B56FEACCB}" dt="2021-03-11T21:44:44.765" v="2155" actId="47"/>
        <pc:sldMkLst>
          <pc:docMk/>
          <pc:sldMk cId="3179233242" sldId="824"/>
        </pc:sldMkLst>
      </pc:sldChg>
      <pc:sldChg chg="del">
        <pc:chgData name="christophe CHUECOS-FONT" userId="7e57acaa-4bc6-4644-8edc-0ecdded28594" providerId="ADAL" clId="{7C2EC605-E404-4336-B43F-526B56FEACCB}" dt="2021-03-11T21:44:36.262" v="2136" actId="47"/>
        <pc:sldMkLst>
          <pc:docMk/>
          <pc:sldMk cId="3701531802" sldId="825"/>
        </pc:sldMkLst>
      </pc:sldChg>
      <pc:sldChg chg="del">
        <pc:chgData name="christophe CHUECOS-FONT" userId="7e57acaa-4bc6-4644-8edc-0ecdded28594" providerId="ADAL" clId="{7C2EC605-E404-4336-B43F-526B56FEACCB}" dt="2021-03-11T20:28:59.985" v="40" actId="47"/>
        <pc:sldMkLst>
          <pc:docMk/>
          <pc:sldMk cId="4279974492" sldId="826"/>
        </pc:sldMkLst>
      </pc:sldChg>
      <pc:sldChg chg="del">
        <pc:chgData name="christophe CHUECOS-FONT" userId="7e57acaa-4bc6-4644-8edc-0ecdded28594" providerId="ADAL" clId="{7C2EC605-E404-4336-B43F-526B56FEACCB}" dt="2021-03-11T20:29:11.452" v="44" actId="47"/>
        <pc:sldMkLst>
          <pc:docMk/>
          <pc:sldMk cId="1915441251" sldId="827"/>
        </pc:sldMkLst>
      </pc:sldChg>
      <pc:sldChg chg="del">
        <pc:chgData name="christophe CHUECOS-FONT" userId="7e57acaa-4bc6-4644-8edc-0ecdded28594" providerId="ADAL" clId="{7C2EC605-E404-4336-B43F-526B56FEACCB}" dt="2021-03-11T20:30:32.309" v="47" actId="47"/>
        <pc:sldMkLst>
          <pc:docMk/>
          <pc:sldMk cId="2773282197" sldId="828"/>
        </pc:sldMkLst>
      </pc:sldChg>
      <pc:sldChg chg="del">
        <pc:chgData name="christophe CHUECOS-FONT" userId="7e57acaa-4bc6-4644-8edc-0ecdded28594" providerId="ADAL" clId="{7C2EC605-E404-4336-B43F-526B56FEACCB}" dt="2021-03-11T20:29:09.701" v="43" actId="47"/>
        <pc:sldMkLst>
          <pc:docMk/>
          <pc:sldMk cId="1950364010" sldId="829"/>
        </pc:sldMkLst>
      </pc:sldChg>
      <pc:sldChg chg="del">
        <pc:chgData name="christophe CHUECOS-FONT" userId="7e57acaa-4bc6-4644-8edc-0ecdded28594" providerId="ADAL" clId="{7C2EC605-E404-4336-B43F-526B56FEACCB}" dt="2021-03-11T20:29:07.248" v="42" actId="47"/>
        <pc:sldMkLst>
          <pc:docMk/>
          <pc:sldMk cId="2782068847" sldId="830"/>
        </pc:sldMkLst>
      </pc:sldChg>
      <pc:sldChg chg="del">
        <pc:chgData name="christophe CHUECOS-FONT" userId="7e57acaa-4bc6-4644-8edc-0ecdded28594" providerId="ADAL" clId="{7C2EC605-E404-4336-B43F-526B56FEACCB}" dt="2021-03-11T20:29:06.613" v="41" actId="47"/>
        <pc:sldMkLst>
          <pc:docMk/>
          <pc:sldMk cId="2879788015" sldId="831"/>
        </pc:sldMkLst>
      </pc:sldChg>
      <pc:sldChg chg="del">
        <pc:chgData name="christophe CHUECOS-FONT" userId="7e57acaa-4bc6-4644-8edc-0ecdded28594" providerId="ADAL" clId="{7C2EC605-E404-4336-B43F-526B56FEACCB}" dt="2021-03-11T21:44:45.405" v="2156" actId="47"/>
        <pc:sldMkLst>
          <pc:docMk/>
          <pc:sldMk cId="405135684" sldId="833"/>
        </pc:sldMkLst>
      </pc:sldChg>
      <pc:sldChg chg="del">
        <pc:chgData name="christophe CHUECOS-FONT" userId="7e57acaa-4bc6-4644-8edc-0ecdded28594" providerId="ADAL" clId="{7C2EC605-E404-4336-B43F-526B56FEACCB}" dt="2021-03-11T21:44:45.827" v="2157" actId="47"/>
        <pc:sldMkLst>
          <pc:docMk/>
          <pc:sldMk cId="3147995437" sldId="834"/>
        </pc:sldMkLst>
      </pc:sldChg>
      <pc:sldChg chg="del">
        <pc:chgData name="christophe CHUECOS-FONT" userId="7e57acaa-4bc6-4644-8edc-0ecdded28594" providerId="ADAL" clId="{7C2EC605-E404-4336-B43F-526B56FEACCB}" dt="2021-03-11T21:44:46.986" v="2158" actId="47"/>
        <pc:sldMkLst>
          <pc:docMk/>
          <pc:sldMk cId="1945539039" sldId="835"/>
        </pc:sldMkLst>
      </pc:sldChg>
      <pc:sldChg chg="del">
        <pc:chgData name="christophe CHUECOS-FONT" userId="7e57acaa-4bc6-4644-8edc-0ecdded28594" providerId="ADAL" clId="{7C2EC605-E404-4336-B43F-526B56FEACCB}" dt="2021-03-11T21:44:47.919" v="2159" actId="47"/>
        <pc:sldMkLst>
          <pc:docMk/>
          <pc:sldMk cId="11715495" sldId="837"/>
        </pc:sldMkLst>
      </pc:sldChg>
      <pc:sldChg chg="del">
        <pc:chgData name="christophe CHUECOS-FONT" userId="7e57acaa-4bc6-4644-8edc-0ecdded28594" providerId="ADAL" clId="{7C2EC605-E404-4336-B43F-526B56FEACCB}" dt="2021-03-11T21:44:49.268" v="2161" actId="47"/>
        <pc:sldMkLst>
          <pc:docMk/>
          <pc:sldMk cId="541489544" sldId="838"/>
        </pc:sldMkLst>
      </pc:sldChg>
      <pc:sldChg chg="addSp delSp modSp mod ord">
        <pc:chgData name="christophe CHUECOS-FONT" userId="7e57acaa-4bc6-4644-8edc-0ecdded28594" providerId="ADAL" clId="{7C2EC605-E404-4336-B43F-526B56FEACCB}" dt="2021-03-11T21:13:50.397" v="550"/>
        <pc:sldMkLst>
          <pc:docMk/>
          <pc:sldMk cId="556005404" sldId="840"/>
        </pc:sldMkLst>
        <pc:spChg chg="add mod">
          <ac:chgData name="christophe CHUECOS-FONT" userId="7e57acaa-4bc6-4644-8edc-0ecdded28594" providerId="ADAL" clId="{7C2EC605-E404-4336-B43F-526B56FEACCB}" dt="2021-03-11T21:11:24.714" v="530" actId="122"/>
          <ac:spMkLst>
            <pc:docMk/>
            <pc:sldMk cId="556005404" sldId="840"/>
            <ac:spMk id="2" creationId="{3FCE95E1-503B-4FA9-8928-B1D43599FA6B}"/>
          </ac:spMkLst>
        </pc:spChg>
        <pc:picChg chg="del">
          <ac:chgData name="christophe CHUECOS-FONT" userId="7e57acaa-4bc6-4644-8edc-0ecdded28594" providerId="ADAL" clId="{7C2EC605-E404-4336-B43F-526B56FEACCB}" dt="2021-03-11T21:10:18.565" v="501" actId="478"/>
          <ac:picMkLst>
            <pc:docMk/>
            <pc:sldMk cId="556005404" sldId="840"/>
            <ac:picMk id="5" creationId="{43BF38CE-8118-4C7E-9E41-9051A9D3EDB2}"/>
          </ac:picMkLst>
        </pc:picChg>
        <pc:picChg chg="add del">
          <ac:chgData name="christophe CHUECOS-FONT" userId="7e57acaa-4bc6-4644-8edc-0ecdded28594" providerId="ADAL" clId="{7C2EC605-E404-4336-B43F-526B56FEACCB}" dt="2021-03-11T21:10:18.565" v="501" actId="478"/>
          <ac:picMkLst>
            <pc:docMk/>
            <pc:sldMk cId="556005404" sldId="840"/>
            <ac:picMk id="4098" creationId="{FB09ABFA-0FA4-4721-AF06-D5710FD9056A}"/>
          </ac:picMkLst>
        </pc:picChg>
        <pc:picChg chg="add mod">
          <ac:chgData name="christophe CHUECOS-FONT" userId="7e57acaa-4bc6-4644-8edc-0ecdded28594" providerId="ADAL" clId="{7C2EC605-E404-4336-B43F-526B56FEACCB}" dt="2021-03-11T21:10:41.397" v="506" actId="14100"/>
          <ac:picMkLst>
            <pc:docMk/>
            <pc:sldMk cId="556005404" sldId="840"/>
            <ac:picMk id="4100" creationId="{D19D593C-C137-4B24-8DBF-65CDDFC1AC7D}"/>
          </ac:picMkLst>
        </pc:picChg>
      </pc:sldChg>
      <pc:sldChg chg="del">
        <pc:chgData name="christophe CHUECOS-FONT" userId="7e57acaa-4bc6-4644-8edc-0ecdded28594" providerId="ADAL" clId="{7C2EC605-E404-4336-B43F-526B56FEACCB}" dt="2021-03-11T21:05:02.756" v="499" actId="47"/>
        <pc:sldMkLst>
          <pc:docMk/>
          <pc:sldMk cId="1685452523" sldId="841"/>
        </pc:sldMkLst>
      </pc:sldChg>
      <pc:sldChg chg="del">
        <pc:chgData name="christophe CHUECOS-FONT" userId="7e57acaa-4bc6-4644-8edc-0ecdded28594" providerId="ADAL" clId="{7C2EC605-E404-4336-B43F-526B56FEACCB}" dt="2021-03-11T21:44:53.370" v="2169" actId="47"/>
        <pc:sldMkLst>
          <pc:docMk/>
          <pc:sldMk cId="3116413680" sldId="842"/>
        </pc:sldMkLst>
      </pc:sldChg>
      <pc:sldChg chg="del">
        <pc:chgData name="christophe CHUECOS-FONT" userId="7e57acaa-4bc6-4644-8edc-0ecdded28594" providerId="ADAL" clId="{7C2EC605-E404-4336-B43F-526B56FEACCB}" dt="2021-03-11T21:44:50.623" v="2164" actId="47"/>
        <pc:sldMkLst>
          <pc:docMk/>
          <pc:sldMk cId="3263644069" sldId="843"/>
        </pc:sldMkLst>
      </pc:sldChg>
      <pc:sldChg chg="del">
        <pc:chgData name="christophe CHUECOS-FONT" userId="7e57acaa-4bc6-4644-8edc-0ecdded28594" providerId="ADAL" clId="{7C2EC605-E404-4336-B43F-526B56FEACCB}" dt="2021-03-11T21:44:54.662" v="2170" actId="47"/>
        <pc:sldMkLst>
          <pc:docMk/>
          <pc:sldMk cId="977518013" sldId="844"/>
        </pc:sldMkLst>
      </pc:sldChg>
      <pc:sldChg chg="del">
        <pc:chgData name="christophe CHUECOS-FONT" userId="7e57acaa-4bc6-4644-8edc-0ecdded28594" providerId="ADAL" clId="{7C2EC605-E404-4336-B43F-526B56FEACCB}" dt="2021-03-11T21:44:55.304" v="2171" actId="47"/>
        <pc:sldMkLst>
          <pc:docMk/>
          <pc:sldMk cId="1417877314" sldId="845"/>
        </pc:sldMkLst>
      </pc:sldChg>
      <pc:sldChg chg="del">
        <pc:chgData name="christophe CHUECOS-FONT" userId="7e57acaa-4bc6-4644-8edc-0ecdded28594" providerId="ADAL" clId="{7C2EC605-E404-4336-B43F-526B56FEACCB}" dt="2021-03-11T21:44:55.669" v="2172" actId="47"/>
        <pc:sldMkLst>
          <pc:docMk/>
          <pc:sldMk cId="2069087743" sldId="846"/>
        </pc:sldMkLst>
      </pc:sldChg>
      <pc:sldChg chg="del">
        <pc:chgData name="christophe CHUECOS-FONT" userId="7e57acaa-4bc6-4644-8edc-0ecdded28594" providerId="ADAL" clId="{7C2EC605-E404-4336-B43F-526B56FEACCB}" dt="2021-03-11T21:45:21.253" v="2173" actId="47"/>
        <pc:sldMkLst>
          <pc:docMk/>
          <pc:sldMk cId="12716915" sldId="847"/>
        </pc:sldMkLst>
      </pc:sldChg>
      <pc:sldChg chg="ord">
        <pc:chgData name="christophe CHUECOS-FONT" userId="7e57acaa-4bc6-4644-8edc-0ecdded28594" providerId="ADAL" clId="{7C2EC605-E404-4336-B43F-526B56FEACCB}" dt="2021-03-11T20:30:15.134" v="46"/>
        <pc:sldMkLst>
          <pc:docMk/>
          <pc:sldMk cId="2080613406" sldId="848"/>
        </pc:sldMkLst>
      </pc:sldChg>
      <pc:sldChg chg="ord">
        <pc:chgData name="christophe CHUECOS-FONT" userId="7e57acaa-4bc6-4644-8edc-0ecdded28594" providerId="ADAL" clId="{7C2EC605-E404-4336-B43F-526B56FEACCB}" dt="2021-03-11T20:30:15.134" v="46"/>
        <pc:sldMkLst>
          <pc:docMk/>
          <pc:sldMk cId="2013905306" sldId="849"/>
        </pc:sldMkLst>
      </pc:sldChg>
      <pc:sldChg chg="ord">
        <pc:chgData name="christophe CHUECOS-FONT" userId="7e57acaa-4bc6-4644-8edc-0ecdded28594" providerId="ADAL" clId="{7C2EC605-E404-4336-B43F-526B56FEACCB}" dt="2021-03-11T20:30:15.134" v="46"/>
        <pc:sldMkLst>
          <pc:docMk/>
          <pc:sldMk cId="2136421834" sldId="850"/>
        </pc:sldMkLst>
      </pc:sldChg>
      <pc:sldChg chg="ord">
        <pc:chgData name="christophe CHUECOS-FONT" userId="7e57acaa-4bc6-4644-8edc-0ecdded28594" providerId="ADAL" clId="{7C2EC605-E404-4336-B43F-526B56FEACCB}" dt="2021-03-11T20:30:15.134" v="46"/>
        <pc:sldMkLst>
          <pc:docMk/>
          <pc:sldMk cId="1737365082" sldId="851"/>
        </pc:sldMkLst>
      </pc:sldChg>
      <pc:sldChg chg="modSp add mod ord">
        <pc:chgData name="christophe CHUECOS-FONT" userId="7e57acaa-4bc6-4644-8edc-0ecdded28594" providerId="ADAL" clId="{7C2EC605-E404-4336-B43F-526B56FEACCB}" dt="2021-03-11T21:04:56.337" v="498"/>
        <pc:sldMkLst>
          <pc:docMk/>
          <pc:sldMk cId="363521892" sldId="852"/>
        </pc:sldMkLst>
        <pc:graphicFrameChg chg="mod modGraphic">
          <ac:chgData name="christophe CHUECOS-FONT" userId="7e57acaa-4bc6-4644-8edc-0ecdded28594" providerId="ADAL" clId="{7C2EC605-E404-4336-B43F-526B56FEACCB}" dt="2021-03-11T20:54:47.136" v="441" actId="1076"/>
          <ac:graphicFrameMkLst>
            <pc:docMk/>
            <pc:sldMk cId="363521892" sldId="852"/>
            <ac:graphicFrameMk id="4" creationId="{7658FEE6-1FE3-4898-8C0C-C984E96DB933}"/>
          </ac:graphicFrameMkLst>
        </pc:graphicFrameChg>
      </pc:sldChg>
      <pc:sldChg chg="addSp delSp modSp add del mod">
        <pc:chgData name="christophe CHUECOS-FONT" userId="7e57acaa-4bc6-4644-8edc-0ecdded28594" providerId="ADAL" clId="{7C2EC605-E404-4336-B43F-526B56FEACCB}" dt="2021-03-11T20:48:17.345" v="298" actId="47"/>
        <pc:sldMkLst>
          <pc:docMk/>
          <pc:sldMk cId="1897327958" sldId="852"/>
        </pc:sldMkLst>
        <pc:spChg chg="add del mod">
          <ac:chgData name="christophe CHUECOS-FONT" userId="7e57acaa-4bc6-4644-8edc-0ecdded28594" providerId="ADAL" clId="{7C2EC605-E404-4336-B43F-526B56FEACCB}" dt="2021-03-11T20:45:09.889" v="261"/>
          <ac:spMkLst>
            <pc:docMk/>
            <pc:sldMk cId="1897327958" sldId="852"/>
            <ac:spMk id="3" creationId="{14E06FAB-EAD7-4C9E-AE3F-6559C26C2022}"/>
          </ac:spMkLst>
        </pc:spChg>
        <pc:spChg chg="add del mod">
          <ac:chgData name="christophe CHUECOS-FONT" userId="7e57acaa-4bc6-4644-8edc-0ecdded28594" providerId="ADAL" clId="{7C2EC605-E404-4336-B43F-526B56FEACCB}" dt="2021-03-11T20:45:52.656" v="266"/>
          <ac:spMkLst>
            <pc:docMk/>
            <pc:sldMk cId="1897327958" sldId="852"/>
            <ac:spMk id="7" creationId="{A8216727-0206-42F3-8489-F2F20FB6E7C4}"/>
          </ac:spMkLst>
        </pc:spChg>
        <pc:graphicFrameChg chg="del mod">
          <ac:chgData name="christophe CHUECOS-FONT" userId="7e57acaa-4bc6-4644-8edc-0ecdded28594" providerId="ADAL" clId="{7C2EC605-E404-4336-B43F-526B56FEACCB}" dt="2021-03-11T20:44:54.809" v="260" actId="478"/>
          <ac:graphicFrameMkLst>
            <pc:docMk/>
            <pc:sldMk cId="1897327958" sldId="852"/>
            <ac:graphicFrameMk id="4" creationId="{7658FEE6-1FE3-4898-8C0C-C984E96DB933}"/>
          </ac:graphicFrameMkLst>
        </pc:graphicFrameChg>
        <pc:graphicFrameChg chg="add del mod modGraphic">
          <ac:chgData name="christophe CHUECOS-FONT" userId="7e57acaa-4bc6-4644-8edc-0ecdded28594" providerId="ADAL" clId="{7C2EC605-E404-4336-B43F-526B56FEACCB}" dt="2021-03-11T20:45:45.508" v="265" actId="478"/>
          <ac:graphicFrameMkLst>
            <pc:docMk/>
            <pc:sldMk cId="1897327958" sldId="852"/>
            <ac:graphicFrameMk id="5" creationId="{D6385B77-7F38-4E04-8EC5-9F4A07F5E6CB}"/>
          </ac:graphicFrameMkLst>
        </pc:graphicFrameChg>
        <pc:graphicFrameChg chg="add mod modGraphic">
          <ac:chgData name="christophe CHUECOS-FONT" userId="7e57acaa-4bc6-4644-8edc-0ecdded28594" providerId="ADAL" clId="{7C2EC605-E404-4336-B43F-526B56FEACCB}" dt="2021-03-11T20:47:51.264" v="297" actId="14734"/>
          <ac:graphicFrameMkLst>
            <pc:docMk/>
            <pc:sldMk cId="1897327958" sldId="852"/>
            <ac:graphicFrameMk id="8" creationId="{3F7B435C-1422-4545-B549-093B07BEBA6B}"/>
          </ac:graphicFrameMkLst>
        </pc:graphicFrameChg>
      </pc:sldChg>
      <pc:sldChg chg="del">
        <pc:chgData name="christophe CHUECOS-FONT" userId="7e57acaa-4bc6-4644-8edc-0ecdded28594" providerId="ADAL" clId="{7C2EC605-E404-4336-B43F-526B56FEACCB}" dt="2021-03-11T21:01:28.155" v="481" actId="47"/>
        <pc:sldMkLst>
          <pc:docMk/>
          <pc:sldMk cId="327242864" sldId="853"/>
        </pc:sldMkLst>
      </pc:sldChg>
      <pc:sldChg chg="add ord">
        <pc:chgData name="christophe CHUECOS-FONT" userId="7e57acaa-4bc6-4644-8edc-0ecdded28594" providerId="ADAL" clId="{7C2EC605-E404-4336-B43F-526B56FEACCB}" dt="2021-03-11T21:13:54.942" v="552"/>
        <pc:sldMkLst>
          <pc:docMk/>
          <pc:sldMk cId="3501519798" sldId="853"/>
        </pc:sldMkLst>
      </pc:sldChg>
      <pc:sldChg chg="modSp add mod ord">
        <pc:chgData name="christophe CHUECOS-FONT" userId="7e57acaa-4bc6-4644-8edc-0ecdded28594" providerId="ADAL" clId="{7C2EC605-E404-4336-B43F-526B56FEACCB}" dt="2021-03-11T21:13:14.732" v="548" actId="14100"/>
        <pc:sldMkLst>
          <pc:docMk/>
          <pc:sldMk cId="500929375" sldId="854"/>
        </pc:sldMkLst>
        <pc:spChg chg="mod">
          <ac:chgData name="christophe CHUECOS-FONT" userId="7e57acaa-4bc6-4644-8edc-0ecdded28594" providerId="ADAL" clId="{7C2EC605-E404-4336-B43F-526B56FEACCB}" dt="2021-03-11T21:13:14.732" v="548" actId="14100"/>
          <ac:spMkLst>
            <pc:docMk/>
            <pc:sldMk cId="500929375" sldId="854"/>
            <ac:spMk id="2" creationId="{02517F6E-26E9-44E8-815E-774552D95FD0}"/>
          </ac:spMkLst>
        </pc:spChg>
      </pc:sldChg>
      <pc:sldChg chg="modSp add mod">
        <pc:chgData name="christophe CHUECOS-FONT" userId="7e57acaa-4bc6-4644-8edc-0ecdded28594" providerId="ADAL" clId="{7C2EC605-E404-4336-B43F-526B56FEACCB}" dt="2021-03-11T21:26:03.531" v="1014" actId="20577"/>
        <pc:sldMkLst>
          <pc:docMk/>
          <pc:sldMk cId="502558103" sldId="855"/>
        </pc:sldMkLst>
        <pc:spChg chg="mod">
          <ac:chgData name="christophe CHUECOS-FONT" userId="7e57acaa-4bc6-4644-8edc-0ecdded28594" providerId="ADAL" clId="{7C2EC605-E404-4336-B43F-526B56FEACCB}" dt="2021-03-11T21:16:58.144" v="652" actId="6549"/>
          <ac:spMkLst>
            <pc:docMk/>
            <pc:sldMk cId="502558103" sldId="855"/>
            <ac:spMk id="2" creationId="{232A2D28-A06C-48FD-ABB4-EB7E27B84308}"/>
          </ac:spMkLst>
        </pc:spChg>
        <pc:graphicFrameChg chg="mod">
          <ac:chgData name="christophe CHUECOS-FONT" userId="7e57acaa-4bc6-4644-8edc-0ecdded28594" providerId="ADAL" clId="{7C2EC605-E404-4336-B43F-526B56FEACCB}" dt="2021-03-11T21:26:03.531" v="1014" actId="20577"/>
          <ac:graphicFrameMkLst>
            <pc:docMk/>
            <pc:sldMk cId="502558103" sldId="855"/>
            <ac:graphicFrameMk id="6" creationId="{4A6E514C-D3C4-4B29-BB5C-DB98C7CA5742}"/>
          </ac:graphicFrameMkLst>
        </pc:graphicFrameChg>
      </pc:sldChg>
      <pc:sldChg chg="modSp add del mod ord">
        <pc:chgData name="christophe CHUECOS-FONT" userId="7e57acaa-4bc6-4644-8edc-0ecdded28594" providerId="ADAL" clId="{7C2EC605-E404-4336-B43F-526B56FEACCB}" dt="2021-03-11T21:15:17.015" v="609" actId="47"/>
        <pc:sldMkLst>
          <pc:docMk/>
          <pc:sldMk cId="1188254544" sldId="855"/>
        </pc:sldMkLst>
        <pc:spChg chg="mod">
          <ac:chgData name="christophe CHUECOS-FONT" userId="7e57acaa-4bc6-4644-8edc-0ecdded28594" providerId="ADAL" clId="{7C2EC605-E404-4336-B43F-526B56FEACCB}" dt="2021-03-11T21:14:37.831" v="574" actId="6549"/>
          <ac:spMkLst>
            <pc:docMk/>
            <pc:sldMk cId="1188254544" sldId="855"/>
            <ac:spMk id="2" creationId="{02517F6E-26E9-44E8-815E-774552D95FD0}"/>
          </ac:spMkLst>
        </pc:spChg>
      </pc:sldChg>
      <pc:sldChg chg="modSp add mod">
        <pc:chgData name="christophe CHUECOS-FONT" userId="7e57acaa-4bc6-4644-8edc-0ecdded28594" providerId="ADAL" clId="{7C2EC605-E404-4336-B43F-526B56FEACCB}" dt="2021-03-11T21:26:34.953" v="1049" actId="20577"/>
        <pc:sldMkLst>
          <pc:docMk/>
          <pc:sldMk cId="4231120075" sldId="856"/>
        </pc:sldMkLst>
        <pc:spChg chg="mod">
          <ac:chgData name="christophe CHUECOS-FONT" userId="7e57acaa-4bc6-4644-8edc-0ecdded28594" providerId="ADAL" clId="{7C2EC605-E404-4336-B43F-526B56FEACCB}" dt="2021-03-11T21:22:10.369" v="863" actId="6549"/>
          <ac:spMkLst>
            <pc:docMk/>
            <pc:sldMk cId="4231120075" sldId="856"/>
            <ac:spMk id="2" creationId="{232A2D28-A06C-48FD-ABB4-EB7E27B84308}"/>
          </ac:spMkLst>
        </pc:spChg>
        <pc:graphicFrameChg chg="mod">
          <ac:chgData name="christophe CHUECOS-FONT" userId="7e57acaa-4bc6-4644-8edc-0ecdded28594" providerId="ADAL" clId="{7C2EC605-E404-4336-B43F-526B56FEACCB}" dt="2021-03-11T21:26:34.953" v="1049" actId="20577"/>
          <ac:graphicFrameMkLst>
            <pc:docMk/>
            <pc:sldMk cId="4231120075" sldId="856"/>
            <ac:graphicFrameMk id="6" creationId="{4A6E514C-D3C4-4B29-BB5C-DB98C7CA5742}"/>
          </ac:graphicFrameMkLst>
        </pc:graphicFrameChg>
      </pc:sldChg>
      <pc:sldChg chg="modSp add mod ord">
        <pc:chgData name="christophe CHUECOS-FONT" userId="7e57acaa-4bc6-4644-8edc-0ecdded28594" providerId="ADAL" clId="{7C2EC605-E404-4336-B43F-526B56FEACCB}" dt="2021-03-11T21:27:47.285" v="1077" actId="6549"/>
        <pc:sldMkLst>
          <pc:docMk/>
          <pc:sldMk cId="981759289" sldId="857"/>
        </pc:sldMkLst>
        <pc:spChg chg="mod">
          <ac:chgData name="christophe CHUECOS-FONT" userId="7e57acaa-4bc6-4644-8edc-0ecdded28594" providerId="ADAL" clId="{7C2EC605-E404-4336-B43F-526B56FEACCB}" dt="2021-03-11T21:27:47.285" v="1077" actId="6549"/>
          <ac:spMkLst>
            <pc:docMk/>
            <pc:sldMk cId="981759289" sldId="857"/>
            <ac:spMk id="3" creationId="{AD2A1ED3-37E2-4CA7-9B30-8E6FAAECBB8C}"/>
          </ac:spMkLst>
        </pc:spChg>
      </pc:sldChg>
      <pc:sldChg chg="modSp add mod ord">
        <pc:chgData name="christophe CHUECOS-FONT" userId="7e57acaa-4bc6-4644-8edc-0ecdded28594" providerId="ADAL" clId="{7C2EC605-E404-4336-B43F-526B56FEACCB}" dt="2021-03-11T21:32:07.520" v="1418" actId="20577"/>
        <pc:sldMkLst>
          <pc:docMk/>
          <pc:sldMk cId="363262154" sldId="858"/>
        </pc:sldMkLst>
        <pc:spChg chg="mod">
          <ac:chgData name="christophe CHUECOS-FONT" userId="7e57acaa-4bc6-4644-8edc-0ecdded28594" providerId="ADAL" clId="{7C2EC605-E404-4336-B43F-526B56FEACCB}" dt="2021-03-11T21:28:57.591" v="1161" actId="6549"/>
          <ac:spMkLst>
            <pc:docMk/>
            <pc:sldMk cId="363262154" sldId="858"/>
            <ac:spMk id="2" creationId="{232A2D28-A06C-48FD-ABB4-EB7E27B84308}"/>
          </ac:spMkLst>
        </pc:spChg>
        <pc:graphicFrameChg chg="mod">
          <ac:chgData name="christophe CHUECOS-FONT" userId="7e57acaa-4bc6-4644-8edc-0ecdded28594" providerId="ADAL" clId="{7C2EC605-E404-4336-B43F-526B56FEACCB}" dt="2021-03-11T21:32:07.520" v="1418" actId="20577"/>
          <ac:graphicFrameMkLst>
            <pc:docMk/>
            <pc:sldMk cId="363262154" sldId="858"/>
            <ac:graphicFrameMk id="6" creationId="{4A6E514C-D3C4-4B29-BB5C-DB98C7CA5742}"/>
          </ac:graphicFrameMkLst>
        </pc:graphicFrameChg>
      </pc:sldChg>
      <pc:sldChg chg="modSp add">
        <pc:chgData name="christophe CHUECOS-FONT" userId="7e57acaa-4bc6-4644-8edc-0ecdded28594" providerId="ADAL" clId="{7C2EC605-E404-4336-B43F-526B56FEACCB}" dt="2021-03-11T21:34:48.560" v="1511" actId="20577"/>
        <pc:sldMkLst>
          <pc:docMk/>
          <pc:sldMk cId="1680082296" sldId="859"/>
        </pc:sldMkLst>
        <pc:graphicFrameChg chg="mod">
          <ac:chgData name="christophe CHUECOS-FONT" userId="7e57acaa-4bc6-4644-8edc-0ecdded28594" providerId="ADAL" clId="{7C2EC605-E404-4336-B43F-526B56FEACCB}" dt="2021-03-11T21:34:48.560" v="1511" actId="20577"/>
          <ac:graphicFrameMkLst>
            <pc:docMk/>
            <pc:sldMk cId="1680082296" sldId="859"/>
            <ac:graphicFrameMk id="6" creationId="{4A6E514C-D3C4-4B29-BB5C-DB98C7CA5742}"/>
          </ac:graphicFrameMkLst>
        </pc:graphicFrameChg>
      </pc:sldChg>
      <pc:sldChg chg="modSp add">
        <pc:chgData name="christophe CHUECOS-FONT" userId="7e57acaa-4bc6-4644-8edc-0ecdded28594" providerId="ADAL" clId="{7C2EC605-E404-4336-B43F-526B56FEACCB}" dt="2021-03-11T21:35:20.434" v="1514"/>
        <pc:sldMkLst>
          <pc:docMk/>
          <pc:sldMk cId="3596322850" sldId="860"/>
        </pc:sldMkLst>
        <pc:graphicFrameChg chg="mod">
          <ac:chgData name="christophe CHUECOS-FONT" userId="7e57acaa-4bc6-4644-8edc-0ecdded28594" providerId="ADAL" clId="{7C2EC605-E404-4336-B43F-526B56FEACCB}" dt="2021-03-11T21:35:20.434" v="1514"/>
          <ac:graphicFrameMkLst>
            <pc:docMk/>
            <pc:sldMk cId="3596322850" sldId="860"/>
            <ac:graphicFrameMk id="6" creationId="{4A6E514C-D3C4-4B29-BB5C-DB98C7CA5742}"/>
          </ac:graphicFrameMkLst>
        </pc:graphicFrameChg>
      </pc:sldChg>
      <pc:sldChg chg="modSp add mod">
        <pc:chgData name="christophe CHUECOS-FONT" userId="7e57acaa-4bc6-4644-8edc-0ecdded28594" providerId="ADAL" clId="{7C2EC605-E404-4336-B43F-526B56FEACCB}" dt="2021-03-11T21:37:34.736" v="1751" actId="20577"/>
        <pc:sldMkLst>
          <pc:docMk/>
          <pc:sldMk cId="1183493075" sldId="861"/>
        </pc:sldMkLst>
        <pc:spChg chg="mod">
          <ac:chgData name="christophe CHUECOS-FONT" userId="7e57acaa-4bc6-4644-8edc-0ecdded28594" providerId="ADAL" clId="{7C2EC605-E404-4336-B43F-526B56FEACCB}" dt="2021-03-11T21:36:15.690" v="1531" actId="6549"/>
          <ac:spMkLst>
            <pc:docMk/>
            <pc:sldMk cId="1183493075" sldId="861"/>
            <ac:spMk id="2" creationId="{232A2D28-A06C-48FD-ABB4-EB7E27B84308}"/>
          </ac:spMkLst>
        </pc:spChg>
        <pc:graphicFrameChg chg="mod">
          <ac:chgData name="christophe CHUECOS-FONT" userId="7e57acaa-4bc6-4644-8edc-0ecdded28594" providerId="ADAL" clId="{7C2EC605-E404-4336-B43F-526B56FEACCB}" dt="2021-03-11T21:37:34.736" v="1751" actId="20577"/>
          <ac:graphicFrameMkLst>
            <pc:docMk/>
            <pc:sldMk cId="1183493075" sldId="861"/>
            <ac:graphicFrameMk id="6" creationId="{4A6E514C-D3C4-4B29-BB5C-DB98C7CA5742}"/>
          </ac:graphicFrameMkLst>
        </pc:graphicFrameChg>
      </pc:sldChg>
      <pc:sldChg chg="add del">
        <pc:chgData name="christophe CHUECOS-FONT" userId="7e57acaa-4bc6-4644-8edc-0ecdded28594" providerId="ADAL" clId="{7C2EC605-E404-4336-B43F-526B56FEACCB}" dt="2021-03-12T06:37:59.960" v="2700" actId="47"/>
        <pc:sldMkLst>
          <pc:docMk/>
          <pc:sldMk cId="2897530479" sldId="862"/>
        </pc:sldMkLst>
      </pc:sldChg>
      <pc:sldChg chg="addSp delSp modSp add mod ord">
        <pc:chgData name="christophe CHUECOS-FONT" userId="7e57acaa-4bc6-4644-8edc-0ecdded28594" providerId="ADAL" clId="{7C2EC605-E404-4336-B43F-526B56FEACCB}" dt="2021-03-12T06:25:56.041" v="2494" actId="20577"/>
        <pc:sldMkLst>
          <pc:docMk/>
          <pc:sldMk cId="1270596968" sldId="863"/>
        </pc:sldMkLst>
        <pc:spChg chg="del mod">
          <ac:chgData name="christophe CHUECOS-FONT" userId="7e57acaa-4bc6-4644-8edc-0ecdded28594" providerId="ADAL" clId="{7C2EC605-E404-4336-B43F-526B56FEACCB}" dt="2021-03-12T06:10:51.511" v="2296" actId="21"/>
          <ac:spMkLst>
            <pc:docMk/>
            <pc:sldMk cId="1270596968" sldId="863"/>
            <ac:spMk id="2" creationId="{00000000-0000-0000-0000-000000000000}"/>
          </ac:spMkLst>
        </pc:spChg>
        <pc:spChg chg="mod">
          <ac:chgData name="christophe CHUECOS-FONT" userId="7e57acaa-4bc6-4644-8edc-0ecdded28594" providerId="ADAL" clId="{7C2EC605-E404-4336-B43F-526B56FEACCB}" dt="2021-03-12T06:25:56.041" v="2494" actId="20577"/>
          <ac:spMkLst>
            <pc:docMk/>
            <pc:sldMk cId="1270596968" sldId="863"/>
            <ac:spMk id="3" creationId="{060668A1-F703-43F0-AA81-AEEE6C0B4942}"/>
          </ac:spMkLst>
        </pc:spChg>
        <pc:spChg chg="add del mod">
          <ac:chgData name="christophe CHUECOS-FONT" userId="7e57acaa-4bc6-4644-8edc-0ecdded28594" providerId="ADAL" clId="{7C2EC605-E404-4336-B43F-526B56FEACCB}" dt="2021-03-12T06:11:53.437" v="2305" actId="21"/>
          <ac:spMkLst>
            <pc:docMk/>
            <pc:sldMk cId="1270596968" sldId="863"/>
            <ac:spMk id="5" creationId="{3ADB4F00-FB47-44D3-844F-B7F1FB27BF40}"/>
          </ac:spMkLst>
        </pc:spChg>
        <pc:spChg chg="del">
          <ac:chgData name="christophe CHUECOS-FONT" userId="7e57acaa-4bc6-4644-8edc-0ecdded28594" providerId="ADAL" clId="{7C2EC605-E404-4336-B43F-526B56FEACCB}" dt="2021-03-12T06:09:57.185" v="2289" actId="26606"/>
          <ac:spMkLst>
            <pc:docMk/>
            <pc:sldMk cId="1270596968" sldId="863"/>
            <ac:spMk id="26" creationId="{8FC9BE17-9A7B-462D-AE50-3D8777387304}"/>
          </ac:spMkLst>
        </pc:spChg>
        <pc:spChg chg="del">
          <ac:chgData name="christophe CHUECOS-FONT" userId="7e57acaa-4bc6-4644-8edc-0ecdded28594" providerId="ADAL" clId="{7C2EC605-E404-4336-B43F-526B56FEACCB}" dt="2021-03-12T06:09:57.185" v="2289" actId="26606"/>
          <ac:spMkLst>
            <pc:docMk/>
            <pc:sldMk cId="1270596968" sldId="863"/>
            <ac:spMk id="28" creationId="{3EBE8569-6AEC-4B8C-8D53-2DE337CDBA65}"/>
          </ac:spMkLst>
        </pc:spChg>
        <pc:spChg chg="del">
          <ac:chgData name="christophe CHUECOS-FONT" userId="7e57acaa-4bc6-4644-8edc-0ecdded28594" providerId="ADAL" clId="{7C2EC605-E404-4336-B43F-526B56FEACCB}" dt="2021-03-12T06:09:57.185" v="2289" actId="26606"/>
          <ac:spMkLst>
            <pc:docMk/>
            <pc:sldMk cId="1270596968" sldId="863"/>
            <ac:spMk id="30" creationId="{55D4142C-5077-457F-A6AD-3FECFDB39685}"/>
          </ac:spMkLst>
        </pc:spChg>
        <pc:spChg chg="del">
          <ac:chgData name="christophe CHUECOS-FONT" userId="7e57acaa-4bc6-4644-8edc-0ecdded28594" providerId="ADAL" clId="{7C2EC605-E404-4336-B43F-526B56FEACCB}" dt="2021-03-12T06:09:57.185" v="2289" actId="26606"/>
          <ac:spMkLst>
            <pc:docMk/>
            <pc:sldMk cId="1270596968" sldId="863"/>
            <ac:spMk id="32" creationId="{7A5F0580-5EE9-419F-96EE-B6529EF6E7D0}"/>
          </ac:spMkLst>
        </pc:spChg>
        <pc:spChg chg="add del">
          <ac:chgData name="christophe CHUECOS-FONT" userId="7e57acaa-4bc6-4644-8edc-0ecdded28594" providerId="ADAL" clId="{7C2EC605-E404-4336-B43F-526B56FEACCB}" dt="2021-03-12T06:24:12.468" v="2452" actId="26606"/>
          <ac:spMkLst>
            <pc:docMk/>
            <pc:sldMk cId="1270596968" sldId="863"/>
            <ac:spMk id="37" creationId="{35F0E358-1E49-4920-80D8-C3D138708838}"/>
          </ac:spMkLst>
        </pc:spChg>
        <pc:spChg chg="add del">
          <ac:chgData name="christophe CHUECOS-FONT" userId="7e57acaa-4bc6-4644-8edc-0ecdded28594" providerId="ADAL" clId="{7C2EC605-E404-4336-B43F-526B56FEACCB}" dt="2021-03-12T06:24:12.468" v="2452" actId="26606"/>
          <ac:spMkLst>
            <pc:docMk/>
            <pc:sldMk cId="1270596968" sldId="863"/>
            <ac:spMk id="39" creationId="{E2D2362D-7010-4036-B9CA-03DFC8EB3B01}"/>
          </ac:spMkLst>
        </pc:spChg>
        <pc:spChg chg="add del">
          <ac:chgData name="christophe CHUECOS-FONT" userId="7e57acaa-4bc6-4644-8edc-0ecdded28594" providerId="ADAL" clId="{7C2EC605-E404-4336-B43F-526B56FEACCB}" dt="2021-03-12T06:24:12.468" v="2452" actId="26606"/>
          <ac:spMkLst>
            <pc:docMk/>
            <pc:sldMk cId="1270596968" sldId="863"/>
            <ac:spMk id="41" creationId="{DC85BF5E-2BD6-4E5B-8EA3-420B45BB03FA}"/>
          </ac:spMkLst>
        </pc:spChg>
        <pc:spChg chg="add del">
          <ac:chgData name="christophe CHUECOS-FONT" userId="7e57acaa-4bc6-4644-8edc-0ecdded28594" providerId="ADAL" clId="{7C2EC605-E404-4336-B43F-526B56FEACCB}" dt="2021-03-12T06:24:12.468" v="2452" actId="26606"/>
          <ac:spMkLst>
            <pc:docMk/>
            <pc:sldMk cId="1270596968" sldId="863"/>
            <ac:spMk id="43" creationId="{740D8E28-91B5-42B0-9D6C-B777D8AD90C2}"/>
          </ac:spMkLst>
        </pc:spChg>
        <pc:spChg chg="add">
          <ac:chgData name="christophe CHUECOS-FONT" userId="7e57acaa-4bc6-4644-8edc-0ecdded28594" providerId="ADAL" clId="{7C2EC605-E404-4336-B43F-526B56FEACCB}" dt="2021-03-12T06:24:12.468" v="2452" actId="26606"/>
          <ac:spMkLst>
            <pc:docMk/>
            <pc:sldMk cId="1270596968" sldId="863"/>
            <ac:spMk id="48" creationId="{7D8E67F2-F753-4E06-8229-4970A6725835}"/>
          </ac:spMkLst>
        </pc:spChg>
        <pc:spChg chg="add">
          <ac:chgData name="christophe CHUECOS-FONT" userId="7e57acaa-4bc6-4644-8edc-0ecdded28594" providerId="ADAL" clId="{7C2EC605-E404-4336-B43F-526B56FEACCB}" dt="2021-03-12T06:24:12.468" v="2452" actId="26606"/>
          <ac:spMkLst>
            <pc:docMk/>
            <pc:sldMk cId="1270596968" sldId="863"/>
            <ac:spMk id="52" creationId="{007B8288-68CC-4847-8419-CF535B6B7EEA}"/>
          </ac:spMkLst>
        </pc:spChg>
        <pc:spChg chg="add">
          <ac:chgData name="christophe CHUECOS-FONT" userId="7e57acaa-4bc6-4644-8edc-0ecdded28594" providerId="ADAL" clId="{7C2EC605-E404-4336-B43F-526B56FEACCB}" dt="2021-03-12T06:24:12.468" v="2452" actId="26606"/>
          <ac:spMkLst>
            <pc:docMk/>
            <pc:sldMk cId="1270596968" sldId="863"/>
            <ac:spMk id="54" creationId="{32BA8EA8-C1B6-4309-B674-F9F399B96288}"/>
          </ac:spMkLst>
        </pc:spChg>
        <pc:picChg chg="add mod ord">
          <ac:chgData name="christophe CHUECOS-FONT" userId="7e57acaa-4bc6-4644-8edc-0ecdded28594" providerId="ADAL" clId="{7C2EC605-E404-4336-B43F-526B56FEACCB}" dt="2021-03-12T06:24:12.468" v="2452" actId="26606"/>
          <ac:picMkLst>
            <pc:docMk/>
            <pc:sldMk cId="1270596968" sldId="863"/>
            <ac:picMk id="6" creationId="{4456A868-487B-408A-A28A-1D6D0EB32F1F}"/>
          </ac:picMkLst>
        </pc:picChg>
        <pc:picChg chg="mod ord">
          <ac:chgData name="christophe CHUECOS-FONT" userId="7e57acaa-4bc6-4644-8edc-0ecdded28594" providerId="ADAL" clId="{7C2EC605-E404-4336-B43F-526B56FEACCB}" dt="2021-03-12T06:24:12.468" v="2452" actId="26606"/>
          <ac:picMkLst>
            <pc:docMk/>
            <pc:sldMk cId="1270596968" sldId="863"/>
            <ac:picMk id="12" creationId="{1FD79E4A-E80D-4BA5-BEA9-44F693117FDC}"/>
          </ac:picMkLst>
        </pc:picChg>
        <pc:picChg chg="add">
          <ac:chgData name="christophe CHUECOS-FONT" userId="7e57acaa-4bc6-4644-8edc-0ecdded28594" providerId="ADAL" clId="{7C2EC605-E404-4336-B43F-526B56FEACCB}" dt="2021-03-12T06:24:12.468" v="2452" actId="26606"/>
          <ac:picMkLst>
            <pc:docMk/>
            <pc:sldMk cId="1270596968" sldId="863"/>
            <ac:picMk id="50" creationId="{2EE1BDFD-564B-44A4-841A-50D6A8E75CB4}"/>
          </ac:picMkLst>
        </pc:picChg>
      </pc:sldChg>
      <pc:sldChg chg="add del">
        <pc:chgData name="christophe CHUECOS-FONT" userId="7e57acaa-4bc6-4644-8edc-0ecdded28594" providerId="ADAL" clId="{7C2EC605-E404-4336-B43F-526B56FEACCB}" dt="2021-03-12T06:06:44.083" v="2203" actId="47"/>
        <pc:sldMkLst>
          <pc:docMk/>
          <pc:sldMk cId="2597403671" sldId="863"/>
        </pc:sldMkLst>
      </pc:sldChg>
      <pc:sldChg chg="addSp modSp add mod">
        <pc:chgData name="christophe CHUECOS-FONT" userId="7e57acaa-4bc6-4644-8edc-0ecdded28594" providerId="ADAL" clId="{7C2EC605-E404-4336-B43F-526B56FEACCB}" dt="2021-03-12T06:19:21.877" v="2369" actId="255"/>
        <pc:sldMkLst>
          <pc:docMk/>
          <pc:sldMk cId="1279228181" sldId="864"/>
        </pc:sldMkLst>
        <pc:spChg chg="mod">
          <ac:chgData name="christophe CHUECOS-FONT" userId="7e57acaa-4bc6-4644-8edc-0ecdded28594" providerId="ADAL" clId="{7C2EC605-E404-4336-B43F-526B56FEACCB}" dt="2021-03-12T06:19:21.877" v="2369" actId="255"/>
          <ac:spMkLst>
            <pc:docMk/>
            <pc:sldMk cId="1279228181" sldId="864"/>
            <ac:spMk id="2" creationId="{00000000-0000-0000-0000-000000000000}"/>
          </ac:spMkLst>
        </pc:spChg>
        <pc:spChg chg="mod">
          <ac:chgData name="christophe CHUECOS-FONT" userId="7e57acaa-4bc6-4644-8edc-0ecdded28594" providerId="ADAL" clId="{7C2EC605-E404-4336-B43F-526B56FEACCB}" dt="2021-03-12T06:18:57.432" v="2368" actId="20577"/>
          <ac:spMkLst>
            <pc:docMk/>
            <pc:sldMk cId="1279228181" sldId="864"/>
            <ac:spMk id="3" creationId="{060668A1-F703-43F0-AA81-AEEE6C0B4942}"/>
          </ac:spMkLst>
        </pc:spChg>
        <pc:spChg chg="add mod">
          <ac:chgData name="christophe CHUECOS-FONT" userId="7e57acaa-4bc6-4644-8edc-0ecdded28594" providerId="ADAL" clId="{7C2EC605-E404-4336-B43F-526B56FEACCB}" dt="2021-03-12T06:13:31.981" v="2342" actId="1076"/>
          <ac:spMkLst>
            <pc:docMk/>
            <pc:sldMk cId="1279228181" sldId="864"/>
            <ac:spMk id="4" creationId="{5D2A775C-5122-4169-8EC5-98E3B99F18F8}"/>
          </ac:spMkLst>
        </pc:spChg>
      </pc:sldChg>
      <pc:sldChg chg="modSp add mod">
        <pc:chgData name="christophe CHUECOS-FONT" userId="7e57acaa-4bc6-4644-8edc-0ecdded28594" providerId="ADAL" clId="{7C2EC605-E404-4336-B43F-526B56FEACCB}" dt="2021-03-12T06:37:45.443" v="2699" actId="27636"/>
        <pc:sldMkLst>
          <pc:docMk/>
          <pc:sldMk cId="1272375052" sldId="865"/>
        </pc:sldMkLst>
        <pc:spChg chg="mod">
          <ac:chgData name="christophe CHUECOS-FONT" userId="7e57acaa-4bc6-4644-8edc-0ecdded28594" providerId="ADAL" clId="{7C2EC605-E404-4336-B43F-526B56FEACCB}" dt="2021-03-12T06:37:45.443" v="2699" actId="27636"/>
          <ac:spMkLst>
            <pc:docMk/>
            <pc:sldMk cId="1272375052" sldId="865"/>
            <ac:spMk id="3" creationId="{060668A1-F703-43F0-AA81-AEEE6C0B4942}"/>
          </ac:spMkLst>
        </pc:spChg>
        <pc:spChg chg="mod">
          <ac:chgData name="christophe CHUECOS-FONT" userId="7e57acaa-4bc6-4644-8edc-0ecdded28594" providerId="ADAL" clId="{7C2EC605-E404-4336-B43F-526B56FEACCB}" dt="2021-03-12T06:14:06.641" v="2348" actId="20577"/>
          <ac:spMkLst>
            <pc:docMk/>
            <pc:sldMk cId="1272375052" sldId="865"/>
            <ac:spMk id="4" creationId="{5D2A775C-5122-4169-8EC5-98E3B99F18F8}"/>
          </ac:spMkLst>
        </pc:spChg>
      </pc:sldChg>
      <pc:sldChg chg="addSp modSp add mod ord">
        <pc:chgData name="christophe CHUECOS-FONT" userId="7e57acaa-4bc6-4644-8edc-0ecdded28594" providerId="ADAL" clId="{7C2EC605-E404-4336-B43F-526B56FEACCB}" dt="2021-03-12T06:31:17.182" v="2680"/>
        <pc:sldMkLst>
          <pc:docMk/>
          <pc:sldMk cId="1840640440" sldId="866"/>
        </pc:sldMkLst>
        <pc:spChg chg="mod">
          <ac:chgData name="christophe CHUECOS-FONT" userId="7e57acaa-4bc6-4644-8edc-0ecdded28594" providerId="ADAL" clId="{7C2EC605-E404-4336-B43F-526B56FEACCB}" dt="2021-03-12T06:30:46.240" v="2679" actId="20577"/>
          <ac:spMkLst>
            <pc:docMk/>
            <pc:sldMk cId="1840640440" sldId="866"/>
            <ac:spMk id="3" creationId="{060668A1-F703-43F0-AA81-AEEE6C0B4942}"/>
          </ac:spMkLst>
        </pc:spChg>
        <pc:spChg chg="add mod">
          <ac:chgData name="christophe CHUECOS-FONT" userId="7e57acaa-4bc6-4644-8edc-0ecdded28594" providerId="ADAL" clId="{7C2EC605-E404-4336-B43F-526B56FEACCB}" dt="2021-03-12T06:31:17.182" v="2680"/>
          <ac:spMkLst>
            <pc:docMk/>
            <pc:sldMk cId="1840640440" sldId="866"/>
            <ac:spMk id="8" creationId="{164916F3-804E-470E-8BC7-66C825CEE17A}"/>
          </ac:spMkLst>
        </pc:spChg>
      </pc:sldChg>
      <pc:sldChg chg="addSp modSp new mod setBg">
        <pc:chgData name="christophe CHUECOS-FONT" userId="7e57acaa-4bc6-4644-8edc-0ecdded28594" providerId="ADAL" clId="{7C2EC605-E404-4336-B43F-526B56FEACCB}" dt="2021-03-12T06:48:19.787" v="3053" actId="20577"/>
        <pc:sldMkLst>
          <pc:docMk/>
          <pc:sldMk cId="2343994896" sldId="867"/>
        </pc:sldMkLst>
        <pc:spChg chg="mod">
          <ac:chgData name="christophe CHUECOS-FONT" userId="7e57acaa-4bc6-4644-8edc-0ecdded28594" providerId="ADAL" clId="{7C2EC605-E404-4336-B43F-526B56FEACCB}" dt="2021-03-12T06:48:19.787" v="3053" actId="20577"/>
          <ac:spMkLst>
            <pc:docMk/>
            <pc:sldMk cId="2343994896" sldId="867"/>
            <ac:spMk id="2" creationId="{AEFCB68E-E041-4E46-A233-3C2208DA32CB}"/>
          </ac:spMkLst>
        </pc:spChg>
        <pc:spChg chg="mod">
          <ac:chgData name="christophe CHUECOS-FONT" userId="7e57acaa-4bc6-4644-8edc-0ecdded28594" providerId="ADAL" clId="{7C2EC605-E404-4336-B43F-526B56FEACCB}" dt="2021-03-12T06:43:05.307" v="2776" actId="27636"/>
          <ac:spMkLst>
            <pc:docMk/>
            <pc:sldMk cId="2343994896" sldId="867"/>
            <ac:spMk id="3" creationId="{9FA71A85-160A-4CFF-9241-BA71D421B86B}"/>
          </ac:spMkLst>
        </pc:spChg>
        <pc:spChg chg="add">
          <ac:chgData name="christophe CHUECOS-FONT" userId="7e57acaa-4bc6-4644-8edc-0ecdded28594" providerId="ADAL" clId="{7C2EC605-E404-4336-B43F-526B56FEACCB}" dt="2021-03-12T06:42:37.996" v="2769" actId="26606"/>
          <ac:spMkLst>
            <pc:docMk/>
            <pc:sldMk cId="2343994896" sldId="867"/>
            <ac:spMk id="8" creationId="{7CB4857B-ED7C-444D-9F04-2F885114A1C2}"/>
          </ac:spMkLst>
        </pc:spChg>
        <pc:spChg chg="add">
          <ac:chgData name="christophe CHUECOS-FONT" userId="7e57acaa-4bc6-4644-8edc-0ecdded28594" providerId="ADAL" clId="{7C2EC605-E404-4336-B43F-526B56FEACCB}" dt="2021-03-12T06:42:37.996" v="2769" actId="26606"/>
          <ac:spMkLst>
            <pc:docMk/>
            <pc:sldMk cId="2343994896" sldId="867"/>
            <ac:spMk id="10" creationId="{D18046FB-44EA-4FD8-A585-EA09A319B2D0}"/>
          </ac:spMkLst>
        </pc:spChg>
        <pc:spChg chg="add">
          <ac:chgData name="christophe CHUECOS-FONT" userId="7e57acaa-4bc6-4644-8edc-0ecdded28594" providerId="ADAL" clId="{7C2EC605-E404-4336-B43F-526B56FEACCB}" dt="2021-03-12T06:42:37.996" v="2769" actId="26606"/>
          <ac:spMkLst>
            <pc:docMk/>
            <pc:sldMk cId="2343994896" sldId="867"/>
            <ac:spMk id="12" creationId="{479F5F2B-8B58-4140-AE6A-51F6C67B18D9}"/>
          </ac:spMkLst>
        </pc:spChg>
      </pc:sldChg>
      <pc:sldChg chg="modSp add mod">
        <pc:chgData name="christophe CHUECOS-FONT" userId="7e57acaa-4bc6-4644-8edc-0ecdded28594" providerId="ADAL" clId="{7C2EC605-E404-4336-B43F-526B56FEACCB}" dt="2021-03-12T06:50:16.424" v="3090" actId="20577"/>
        <pc:sldMkLst>
          <pc:docMk/>
          <pc:sldMk cId="4246420157" sldId="868"/>
        </pc:sldMkLst>
        <pc:spChg chg="mod">
          <ac:chgData name="christophe CHUECOS-FONT" userId="7e57acaa-4bc6-4644-8edc-0ecdded28594" providerId="ADAL" clId="{7C2EC605-E404-4336-B43F-526B56FEACCB}" dt="2021-03-12T06:50:16.424" v="3090" actId="20577"/>
          <ac:spMkLst>
            <pc:docMk/>
            <pc:sldMk cId="4246420157" sldId="868"/>
            <ac:spMk id="2" creationId="{AEFCB68E-E041-4E46-A233-3C2208DA32CB}"/>
          </ac:spMkLst>
        </pc:spChg>
        <pc:spChg chg="mod">
          <ac:chgData name="christophe CHUECOS-FONT" userId="7e57acaa-4bc6-4644-8edc-0ecdded28594" providerId="ADAL" clId="{7C2EC605-E404-4336-B43F-526B56FEACCB}" dt="2021-03-12T06:46:12.168" v="3011" actId="14100"/>
          <ac:spMkLst>
            <pc:docMk/>
            <pc:sldMk cId="4246420157" sldId="868"/>
            <ac:spMk id="3" creationId="{9FA71A85-160A-4CFF-9241-BA71D421B86B}"/>
          </ac:spMkLst>
        </pc:spChg>
      </pc:sldChg>
      <pc:sldChg chg="modSp add mod">
        <pc:chgData name="christophe CHUECOS-FONT" userId="7e57acaa-4bc6-4644-8edc-0ecdded28594" providerId="ADAL" clId="{7C2EC605-E404-4336-B43F-526B56FEACCB}" dt="2021-03-12T06:47:56.256" v="3040" actId="5793"/>
        <pc:sldMkLst>
          <pc:docMk/>
          <pc:sldMk cId="3567505306" sldId="869"/>
        </pc:sldMkLst>
        <pc:spChg chg="mod">
          <ac:chgData name="christophe CHUECOS-FONT" userId="7e57acaa-4bc6-4644-8edc-0ecdded28594" providerId="ADAL" clId="{7C2EC605-E404-4336-B43F-526B56FEACCB}" dt="2021-03-12T06:47:31.506" v="3028" actId="20577"/>
          <ac:spMkLst>
            <pc:docMk/>
            <pc:sldMk cId="3567505306" sldId="869"/>
            <ac:spMk id="2" creationId="{AEFCB68E-E041-4E46-A233-3C2208DA32CB}"/>
          </ac:spMkLst>
        </pc:spChg>
        <pc:spChg chg="mod">
          <ac:chgData name="christophe CHUECOS-FONT" userId="7e57acaa-4bc6-4644-8edc-0ecdded28594" providerId="ADAL" clId="{7C2EC605-E404-4336-B43F-526B56FEACCB}" dt="2021-03-12T06:47:56.256" v="3040" actId="5793"/>
          <ac:spMkLst>
            <pc:docMk/>
            <pc:sldMk cId="3567505306" sldId="869"/>
            <ac:spMk id="3" creationId="{9FA71A85-160A-4CFF-9241-BA71D421B86B}"/>
          </ac:spMkLst>
        </pc:spChg>
      </pc:sldChg>
      <pc:sldChg chg="addSp delSp modSp add mod">
        <pc:chgData name="christophe CHUECOS-FONT" userId="7e57acaa-4bc6-4644-8edc-0ecdded28594" providerId="ADAL" clId="{7C2EC605-E404-4336-B43F-526B56FEACCB}" dt="2021-03-12T13:10:45.815" v="3970" actId="27636"/>
        <pc:sldMkLst>
          <pc:docMk/>
          <pc:sldMk cId="2916156587" sldId="870"/>
        </pc:sldMkLst>
        <pc:spChg chg="mod">
          <ac:chgData name="christophe CHUECOS-FONT" userId="7e57acaa-4bc6-4644-8edc-0ecdded28594" providerId="ADAL" clId="{7C2EC605-E404-4336-B43F-526B56FEACCB}" dt="2021-03-12T13:10:45.815" v="3970" actId="27636"/>
          <ac:spMkLst>
            <pc:docMk/>
            <pc:sldMk cId="2916156587" sldId="870"/>
            <ac:spMk id="2" creationId="{AEFCB68E-E041-4E46-A233-3C2208DA32CB}"/>
          </ac:spMkLst>
        </pc:spChg>
        <pc:spChg chg="mod">
          <ac:chgData name="christophe CHUECOS-FONT" userId="7e57acaa-4bc6-4644-8edc-0ecdded28594" providerId="ADAL" clId="{7C2EC605-E404-4336-B43F-526B56FEACCB}" dt="2021-03-12T06:59:05.244" v="3713" actId="20577"/>
          <ac:spMkLst>
            <pc:docMk/>
            <pc:sldMk cId="2916156587" sldId="870"/>
            <ac:spMk id="3" creationId="{9FA71A85-160A-4CFF-9241-BA71D421B86B}"/>
          </ac:spMkLst>
        </pc:spChg>
        <pc:spChg chg="del">
          <ac:chgData name="christophe CHUECOS-FONT" userId="7e57acaa-4bc6-4644-8edc-0ecdded28594" providerId="ADAL" clId="{7C2EC605-E404-4336-B43F-526B56FEACCB}" dt="2021-03-12T06:57:29.708" v="3683" actId="26606"/>
          <ac:spMkLst>
            <pc:docMk/>
            <pc:sldMk cId="2916156587" sldId="870"/>
            <ac:spMk id="8" creationId="{7CB4857B-ED7C-444D-9F04-2F885114A1C2}"/>
          </ac:spMkLst>
        </pc:spChg>
        <pc:spChg chg="del">
          <ac:chgData name="christophe CHUECOS-FONT" userId="7e57acaa-4bc6-4644-8edc-0ecdded28594" providerId="ADAL" clId="{7C2EC605-E404-4336-B43F-526B56FEACCB}" dt="2021-03-12T06:57:29.708" v="3683" actId="26606"/>
          <ac:spMkLst>
            <pc:docMk/>
            <pc:sldMk cId="2916156587" sldId="870"/>
            <ac:spMk id="10" creationId="{D18046FB-44EA-4FD8-A585-EA09A319B2D0}"/>
          </ac:spMkLst>
        </pc:spChg>
        <pc:spChg chg="del">
          <ac:chgData name="christophe CHUECOS-FONT" userId="7e57acaa-4bc6-4644-8edc-0ecdded28594" providerId="ADAL" clId="{7C2EC605-E404-4336-B43F-526B56FEACCB}" dt="2021-03-12T06:57:29.708" v="3683" actId="26606"/>
          <ac:spMkLst>
            <pc:docMk/>
            <pc:sldMk cId="2916156587" sldId="870"/>
            <ac:spMk id="12" creationId="{479F5F2B-8B58-4140-AE6A-51F6C67B18D9}"/>
          </ac:spMkLst>
        </pc:spChg>
        <pc:spChg chg="add">
          <ac:chgData name="christophe CHUECOS-FONT" userId="7e57acaa-4bc6-4644-8edc-0ecdded28594" providerId="ADAL" clId="{7C2EC605-E404-4336-B43F-526B56FEACCB}" dt="2021-03-12T06:57:29.708" v="3683" actId="26606"/>
          <ac:spMkLst>
            <pc:docMk/>
            <pc:sldMk cId="2916156587" sldId="870"/>
            <ac:spMk id="17" creationId="{100EDD19-6802-4EC3-95CE-CFFAB042CFD6}"/>
          </ac:spMkLst>
        </pc:spChg>
        <pc:spChg chg="add">
          <ac:chgData name="christophe CHUECOS-FONT" userId="7e57acaa-4bc6-4644-8edc-0ecdded28594" providerId="ADAL" clId="{7C2EC605-E404-4336-B43F-526B56FEACCB}" dt="2021-03-12T06:57:29.708" v="3683" actId="26606"/>
          <ac:spMkLst>
            <pc:docMk/>
            <pc:sldMk cId="2916156587" sldId="870"/>
            <ac:spMk id="19" creationId="{DB17E863-922E-4C26-BD64-E8FD41D28661}"/>
          </ac:spMkLst>
        </pc:spChg>
      </pc:sldChg>
      <pc:sldChg chg="add del">
        <pc:chgData name="christophe CHUECOS-FONT" userId="7e57acaa-4bc6-4644-8edc-0ecdded28594" providerId="ADAL" clId="{7C2EC605-E404-4336-B43F-526B56FEACCB}" dt="2021-03-12T06:50:25.897" v="3092" actId="47"/>
        <pc:sldMkLst>
          <pc:docMk/>
          <pc:sldMk cId="4013680772" sldId="871"/>
        </pc:sldMkLst>
      </pc:sldChg>
      <pc:sldChg chg="modSp add mod">
        <pc:chgData name="christophe CHUECOS-FONT" userId="7e57acaa-4bc6-4644-8edc-0ecdded28594" providerId="ADAL" clId="{7C2EC605-E404-4336-B43F-526B56FEACCB}" dt="2021-03-12T06:54:42.106" v="3649" actId="13926"/>
        <pc:sldMkLst>
          <pc:docMk/>
          <pc:sldMk cId="2390975454" sldId="872"/>
        </pc:sldMkLst>
        <pc:spChg chg="mod">
          <ac:chgData name="christophe CHUECOS-FONT" userId="7e57acaa-4bc6-4644-8edc-0ecdded28594" providerId="ADAL" clId="{7C2EC605-E404-4336-B43F-526B56FEACCB}" dt="2021-03-12T06:54:42.106" v="3649" actId="13926"/>
          <ac:spMkLst>
            <pc:docMk/>
            <pc:sldMk cId="2390975454" sldId="872"/>
            <ac:spMk id="3" creationId="{9FA71A85-160A-4CFF-9241-BA71D421B86B}"/>
          </ac:spMkLst>
        </pc:spChg>
      </pc:sldChg>
      <pc:sldChg chg="add del ord">
        <pc:chgData name="christophe CHUECOS-FONT" userId="7e57acaa-4bc6-4644-8edc-0ecdded28594" providerId="ADAL" clId="{7C2EC605-E404-4336-B43F-526B56FEACCB}" dt="2021-03-12T07:01:16.645" v="3761" actId="47"/>
        <pc:sldMkLst>
          <pc:docMk/>
          <pc:sldMk cId="1767894626" sldId="873"/>
        </pc:sldMkLst>
      </pc:sldChg>
      <pc:sldChg chg="modSp add mod">
        <pc:chgData name="christophe CHUECOS-FONT" userId="7e57acaa-4bc6-4644-8edc-0ecdded28594" providerId="ADAL" clId="{7C2EC605-E404-4336-B43F-526B56FEACCB}" dt="2021-03-12T13:11:20.304" v="4014" actId="20577"/>
        <pc:sldMkLst>
          <pc:docMk/>
          <pc:sldMk cId="1420163618" sldId="874"/>
        </pc:sldMkLst>
        <pc:spChg chg="mod">
          <ac:chgData name="christophe CHUECOS-FONT" userId="7e57acaa-4bc6-4644-8edc-0ecdded28594" providerId="ADAL" clId="{7C2EC605-E404-4336-B43F-526B56FEACCB}" dt="2021-03-12T13:11:20.304" v="4014" actId="20577"/>
          <ac:spMkLst>
            <pc:docMk/>
            <pc:sldMk cId="1420163618" sldId="874"/>
            <ac:spMk id="2" creationId="{AEFCB68E-E041-4E46-A233-3C2208DA32CB}"/>
          </ac:spMkLst>
        </pc:spChg>
        <pc:spChg chg="mod">
          <ac:chgData name="christophe CHUECOS-FONT" userId="7e57acaa-4bc6-4644-8edc-0ecdded28594" providerId="ADAL" clId="{7C2EC605-E404-4336-B43F-526B56FEACCB}" dt="2021-03-12T06:58:46.734" v="3707" actId="5793"/>
          <ac:spMkLst>
            <pc:docMk/>
            <pc:sldMk cId="1420163618" sldId="874"/>
            <ac:spMk id="3" creationId="{9FA71A85-160A-4CFF-9241-BA71D421B86B}"/>
          </ac:spMkLst>
        </pc:spChg>
      </pc:sldChg>
      <pc:sldChg chg="modSp add mod">
        <pc:chgData name="christophe CHUECOS-FONT" userId="7e57acaa-4bc6-4644-8edc-0ecdded28594" providerId="ADAL" clId="{7C2EC605-E404-4336-B43F-526B56FEACCB}" dt="2021-03-12T13:10:51.874" v="3971" actId="20577"/>
        <pc:sldMkLst>
          <pc:docMk/>
          <pc:sldMk cId="1272505437" sldId="875"/>
        </pc:sldMkLst>
        <pc:spChg chg="mod">
          <ac:chgData name="christophe CHUECOS-FONT" userId="7e57acaa-4bc6-4644-8edc-0ecdded28594" providerId="ADAL" clId="{7C2EC605-E404-4336-B43F-526B56FEACCB}" dt="2021-03-12T13:10:51.874" v="3971" actId="20577"/>
          <ac:spMkLst>
            <pc:docMk/>
            <pc:sldMk cId="1272505437" sldId="875"/>
            <ac:spMk id="2" creationId="{AEFCB68E-E041-4E46-A233-3C2208DA32CB}"/>
          </ac:spMkLst>
        </pc:spChg>
        <pc:spChg chg="mod">
          <ac:chgData name="christophe CHUECOS-FONT" userId="7e57acaa-4bc6-4644-8edc-0ecdded28594" providerId="ADAL" clId="{7C2EC605-E404-4336-B43F-526B56FEACCB}" dt="2021-03-12T07:00:11.258" v="3728" actId="27636"/>
          <ac:spMkLst>
            <pc:docMk/>
            <pc:sldMk cId="1272505437" sldId="875"/>
            <ac:spMk id="3" creationId="{9FA71A85-160A-4CFF-9241-BA71D421B86B}"/>
          </ac:spMkLst>
        </pc:spChg>
      </pc:sldChg>
      <pc:sldChg chg="modSp add mod ord">
        <pc:chgData name="christophe CHUECOS-FONT" userId="7e57acaa-4bc6-4644-8edc-0ecdded28594" providerId="ADAL" clId="{7C2EC605-E404-4336-B43F-526B56FEACCB}" dt="2021-03-12T13:11:37.788" v="4031" actId="27636"/>
        <pc:sldMkLst>
          <pc:docMk/>
          <pc:sldMk cId="2120194084" sldId="876"/>
        </pc:sldMkLst>
        <pc:spChg chg="mod">
          <ac:chgData name="christophe CHUECOS-FONT" userId="7e57acaa-4bc6-4644-8edc-0ecdded28594" providerId="ADAL" clId="{7C2EC605-E404-4336-B43F-526B56FEACCB}" dt="2021-03-12T13:11:37.788" v="4031" actId="27636"/>
          <ac:spMkLst>
            <pc:docMk/>
            <pc:sldMk cId="2120194084" sldId="876"/>
            <ac:spMk id="2" creationId="{AEFCB68E-E041-4E46-A233-3C2208DA32CB}"/>
          </ac:spMkLst>
        </pc:spChg>
        <pc:spChg chg="mod">
          <ac:chgData name="christophe CHUECOS-FONT" userId="7e57acaa-4bc6-4644-8edc-0ecdded28594" providerId="ADAL" clId="{7C2EC605-E404-4336-B43F-526B56FEACCB}" dt="2021-03-12T07:03:38.963" v="3924" actId="27636"/>
          <ac:spMkLst>
            <pc:docMk/>
            <pc:sldMk cId="2120194084" sldId="876"/>
            <ac:spMk id="3" creationId="{9FA71A85-160A-4CFF-9241-BA71D421B86B}"/>
          </ac:spMkLst>
        </pc:spChg>
      </pc:sldChg>
      <pc:sldChg chg="modSp add del mod ord">
        <pc:chgData name="christophe CHUECOS-FONT" userId="7e57acaa-4bc6-4644-8edc-0ecdded28594" providerId="ADAL" clId="{7C2EC605-E404-4336-B43F-526B56FEACCB}" dt="2021-03-12T13:10:33.844" v="3962" actId="47"/>
        <pc:sldMkLst>
          <pc:docMk/>
          <pc:sldMk cId="2546582057" sldId="877"/>
        </pc:sldMkLst>
        <pc:spChg chg="mod">
          <ac:chgData name="christophe CHUECOS-FONT" userId="7e57acaa-4bc6-4644-8edc-0ecdded28594" providerId="ADAL" clId="{7C2EC605-E404-4336-B43F-526B56FEACCB}" dt="2021-03-12T07:04:44.871" v="3936" actId="20577"/>
          <ac:spMkLst>
            <pc:docMk/>
            <pc:sldMk cId="2546582057" sldId="877"/>
            <ac:spMk id="3" creationId="{9FA71A85-160A-4CFF-9241-BA71D421B86B}"/>
          </ac:spMkLst>
        </pc:spChg>
      </pc:sldChg>
      <pc:sldChg chg="add del">
        <pc:chgData name="christophe CHUECOS-FONT" userId="7e57acaa-4bc6-4644-8edc-0ecdded28594" providerId="ADAL" clId="{7C2EC605-E404-4336-B43F-526B56FEACCB}" dt="2021-03-12T13:10:25.693" v="3959" actId="47"/>
        <pc:sldMkLst>
          <pc:docMk/>
          <pc:sldMk cId="128888217" sldId="878"/>
        </pc:sldMkLst>
      </pc:sldChg>
      <pc:sldChg chg="delSp add del setBg delDesignElem">
        <pc:chgData name="christophe CHUECOS-FONT" userId="7e57acaa-4bc6-4644-8edc-0ecdded28594" providerId="ADAL" clId="{7C2EC605-E404-4336-B43F-526B56FEACCB}" dt="2021-03-12T13:10:08.788" v="3948" actId="47"/>
        <pc:sldMkLst>
          <pc:docMk/>
          <pc:sldMk cId="2168922426" sldId="878"/>
        </pc:sldMkLst>
        <pc:spChg chg="del">
          <ac:chgData name="christophe CHUECOS-FONT" userId="7e57acaa-4bc6-4644-8edc-0ecdded28594" providerId="ADAL" clId="{7C2EC605-E404-4336-B43F-526B56FEACCB}" dt="2021-03-12T13:10:05.493" v="3947"/>
          <ac:spMkLst>
            <pc:docMk/>
            <pc:sldMk cId="2168922426" sldId="878"/>
            <ac:spMk id="8" creationId="{7CB4857B-ED7C-444D-9F04-2F885114A1C2}"/>
          </ac:spMkLst>
        </pc:spChg>
        <pc:spChg chg="del">
          <ac:chgData name="christophe CHUECOS-FONT" userId="7e57acaa-4bc6-4644-8edc-0ecdded28594" providerId="ADAL" clId="{7C2EC605-E404-4336-B43F-526B56FEACCB}" dt="2021-03-12T13:10:05.493" v="3947"/>
          <ac:spMkLst>
            <pc:docMk/>
            <pc:sldMk cId="2168922426" sldId="878"/>
            <ac:spMk id="10" creationId="{D18046FB-44EA-4FD8-A585-EA09A319B2D0}"/>
          </ac:spMkLst>
        </pc:spChg>
        <pc:spChg chg="del">
          <ac:chgData name="christophe CHUECOS-FONT" userId="7e57acaa-4bc6-4644-8edc-0ecdded28594" providerId="ADAL" clId="{7C2EC605-E404-4336-B43F-526B56FEACCB}" dt="2021-03-12T13:10:05.493" v="3947"/>
          <ac:spMkLst>
            <pc:docMk/>
            <pc:sldMk cId="2168922426" sldId="878"/>
            <ac:spMk id="12" creationId="{479F5F2B-8B58-4140-AE6A-51F6C67B18D9}"/>
          </ac:spMkLst>
        </pc:spChg>
      </pc:sldChg>
      <pc:sldChg chg="add del">
        <pc:chgData name="christophe CHUECOS-FONT" userId="7e57acaa-4bc6-4644-8edc-0ecdded28594" providerId="ADAL" clId="{7C2EC605-E404-4336-B43F-526B56FEACCB}" dt="2021-03-12T13:10:27.240" v="3960" actId="47"/>
        <pc:sldMkLst>
          <pc:docMk/>
          <pc:sldMk cId="1016972232" sldId="879"/>
        </pc:sldMkLst>
      </pc:sldChg>
      <pc:sldChg chg="delSp add del setBg delDesignElem">
        <pc:chgData name="christophe CHUECOS-FONT" userId="7e57acaa-4bc6-4644-8edc-0ecdded28594" providerId="ADAL" clId="{7C2EC605-E404-4336-B43F-526B56FEACCB}" dt="2021-03-12T13:10:10.011" v="3949" actId="47"/>
        <pc:sldMkLst>
          <pc:docMk/>
          <pc:sldMk cId="1858897326" sldId="879"/>
        </pc:sldMkLst>
        <pc:spChg chg="del">
          <ac:chgData name="christophe CHUECOS-FONT" userId="7e57acaa-4bc6-4644-8edc-0ecdded28594" providerId="ADAL" clId="{7C2EC605-E404-4336-B43F-526B56FEACCB}" dt="2021-03-12T13:10:05.493" v="3947"/>
          <ac:spMkLst>
            <pc:docMk/>
            <pc:sldMk cId="1858897326" sldId="879"/>
            <ac:spMk id="17" creationId="{100EDD19-6802-4EC3-95CE-CFFAB042CFD6}"/>
          </ac:spMkLst>
        </pc:spChg>
        <pc:spChg chg="del">
          <ac:chgData name="christophe CHUECOS-FONT" userId="7e57acaa-4bc6-4644-8edc-0ecdded28594" providerId="ADAL" clId="{7C2EC605-E404-4336-B43F-526B56FEACCB}" dt="2021-03-12T13:10:05.493" v="3947"/>
          <ac:spMkLst>
            <pc:docMk/>
            <pc:sldMk cId="1858897326" sldId="879"/>
            <ac:spMk id="19" creationId="{DB17E863-922E-4C26-BD64-E8FD41D28661}"/>
          </ac:spMkLst>
        </pc:spChg>
      </pc:sldChg>
      <pc:sldChg chg="add del">
        <pc:chgData name="christophe CHUECOS-FONT" userId="7e57acaa-4bc6-4644-8edc-0ecdded28594" providerId="ADAL" clId="{7C2EC605-E404-4336-B43F-526B56FEACCB}" dt="2021-03-12T13:10:29.351" v="3961" actId="47"/>
        <pc:sldMkLst>
          <pc:docMk/>
          <pc:sldMk cId="3552992650" sldId="880"/>
        </pc:sldMkLst>
      </pc:sldChg>
      <pc:sldChg chg="delSp add del setBg delDesignElem">
        <pc:chgData name="christophe CHUECOS-FONT" userId="7e57acaa-4bc6-4644-8edc-0ecdded28594" providerId="ADAL" clId="{7C2EC605-E404-4336-B43F-526B56FEACCB}" dt="2021-03-12T13:10:12.058" v="3950" actId="47"/>
        <pc:sldMkLst>
          <pc:docMk/>
          <pc:sldMk cId="4109112769" sldId="880"/>
        </pc:sldMkLst>
        <pc:spChg chg="del">
          <ac:chgData name="christophe CHUECOS-FONT" userId="7e57acaa-4bc6-4644-8edc-0ecdded28594" providerId="ADAL" clId="{7C2EC605-E404-4336-B43F-526B56FEACCB}" dt="2021-03-12T13:10:05.493" v="3947"/>
          <ac:spMkLst>
            <pc:docMk/>
            <pc:sldMk cId="4109112769" sldId="880"/>
            <ac:spMk id="17" creationId="{100EDD19-6802-4EC3-95CE-CFFAB042CFD6}"/>
          </ac:spMkLst>
        </pc:spChg>
        <pc:spChg chg="del">
          <ac:chgData name="christophe CHUECOS-FONT" userId="7e57acaa-4bc6-4644-8edc-0ecdded28594" providerId="ADAL" clId="{7C2EC605-E404-4336-B43F-526B56FEACCB}" dt="2021-03-12T13:10:05.493" v="3947"/>
          <ac:spMkLst>
            <pc:docMk/>
            <pc:sldMk cId="4109112769" sldId="880"/>
            <ac:spMk id="19" creationId="{DB17E863-922E-4C26-BD64-E8FD41D28661}"/>
          </ac:spMkLst>
        </pc:spChg>
      </pc:sldChg>
      <pc:sldChg chg="delSp add del setBg delDesignElem">
        <pc:chgData name="christophe CHUECOS-FONT" userId="7e57acaa-4bc6-4644-8edc-0ecdded28594" providerId="ADAL" clId="{7C2EC605-E404-4336-B43F-526B56FEACCB}" dt="2021-03-12T13:10:12.495" v="3951" actId="47"/>
        <pc:sldMkLst>
          <pc:docMk/>
          <pc:sldMk cId="142122952" sldId="881"/>
        </pc:sldMkLst>
        <pc:spChg chg="del">
          <ac:chgData name="christophe CHUECOS-FONT" userId="7e57acaa-4bc6-4644-8edc-0ecdded28594" providerId="ADAL" clId="{7C2EC605-E404-4336-B43F-526B56FEACCB}" dt="2021-03-12T13:10:05.493" v="3947"/>
          <ac:spMkLst>
            <pc:docMk/>
            <pc:sldMk cId="142122952" sldId="881"/>
            <ac:spMk id="8" creationId="{7CB4857B-ED7C-444D-9F04-2F885114A1C2}"/>
          </ac:spMkLst>
        </pc:spChg>
        <pc:spChg chg="del">
          <ac:chgData name="christophe CHUECOS-FONT" userId="7e57acaa-4bc6-4644-8edc-0ecdded28594" providerId="ADAL" clId="{7C2EC605-E404-4336-B43F-526B56FEACCB}" dt="2021-03-12T13:10:05.493" v="3947"/>
          <ac:spMkLst>
            <pc:docMk/>
            <pc:sldMk cId="142122952" sldId="881"/>
            <ac:spMk id="10" creationId="{D18046FB-44EA-4FD8-A585-EA09A319B2D0}"/>
          </ac:spMkLst>
        </pc:spChg>
        <pc:spChg chg="del">
          <ac:chgData name="christophe CHUECOS-FONT" userId="7e57acaa-4bc6-4644-8edc-0ecdded28594" providerId="ADAL" clId="{7C2EC605-E404-4336-B43F-526B56FEACCB}" dt="2021-03-12T13:10:05.493" v="3947"/>
          <ac:spMkLst>
            <pc:docMk/>
            <pc:sldMk cId="142122952" sldId="881"/>
            <ac:spMk id="12" creationId="{479F5F2B-8B58-4140-AE6A-51F6C67B18D9}"/>
          </ac:spMkLst>
        </pc:spChg>
      </pc:sldChg>
      <pc:sldChg chg="add">
        <pc:chgData name="christophe CHUECOS-FONT" userId="7e57acaa-4bc6-4644-8edc-0ecdded28594" providerId="ADAL" clId="{7C2EC605-E404-4336-B43F-526B56FEACCB}" dt="2021-03-12T13:10:21.581" v="3958"/>
        <pc:sldMkLst>
          <pc:docMk/>
          <pc:sldMk cId="3555506515" sldId="881"/>
        </pc:sldMkLst>
      </pc:sldChg>
      <pc:sldChg chg="delSp add del setBg delDesignElem">
        <pc:chgData name="christophe CHUECOS-FONT" userId="7e57acaa-4bc6-4644-8edc-0ecdded28594" providerId="ADAL" clId="{7C2EC605-E404-4336-B43F-526B56FEACCB}" dt="2021-03-12T13:10:21.581" v="3958"/>
        <pc:sldMkLst>
          <pc:docMk/>
          <pc:sldMk cId="4214439185" sldId="882"/>
        </pc:sldMkLst>
        <pc:spChg chg="del">
          <ac:chgData name="christophe CHUECOS-FONT" userId="7e57acaa-4bc6-4644-8edc-0ecdded28594" providerId="ADAL" clId="{7C2EC605-E404-4336-B43F-526B56FEACCB}" dt="2021-03-12T13:10:05.493" v="3947"/>
          <ac:spMkLst>
            <pc:docMk/>
            <pc:sldMk cId="4214439185" sldId="882"/>
            <ac:spMk id="8" creationId="{7CB4857B-ED7C-444D-9F04-2F885114A1C2}"/>
          </ac:spMkLst>
        </pc:spChg>
        <pc:spChg chg="del">
          <ac:chgData name="christophe CHUECOS-FONT" userId="7e57acaa-4bc6-4644-8edc-0ecdded28594" providerId="ADAL" clId="{7C2EC605-E404-4336-B43F-526B56FEACCB}" dt="2021-03-12T13:10:05.493" v="3947"/>
          <ac:spMkLst>
            <pc:docMk/>
            <pc:sldMk cId="4214439185" sldId="882"/>
            <ac:spMk id="10" creationId="{D18046FB-44EA-4FD8-A585-EA09A319B2D0}"/>
          </ac:spMkLst>
        </pc:spChg>
        <pc:spChg chg="del">
          <ac:chgData name="christophe CHUECOS-FONT" userId="7e57acaa-4bc6-4644-8edc-0ecdded28594" providerId="ADAL" clId="{7C2EC605-E404-4336-B43F-526B56FEACCB}" dt="2021-03-12T13:10:05.493" v="3947"/>
          <ac:spMkLst>
            <pc:docMk/>
            <pc:sldMk cId="4214439185" sldId="882"/>
            <ac:spMk id="12" creationId="{479F5F2B-8B58-4140-AE6A-51F6C67B18D9}"/>
          </ac:spMkLst>
        </pc:spChg>
      </pc:sldChg>
      <pc:sldChg chg="delSp add del setBg delDesignElem">
        <pc:chgData name="christophe CHUECOS-FONT" userId="7e57acaa-4bc6-4644-8edc-0ecdded28594" providerId="ADAL" clId="{7C2EC605-E404-4336-B43F-526B56FEACCB}" dt="2021-03-12T13:10:21.581" v="3958"/>
        <pc:sldMkLst>
          <pc:docMk/>
          <pc:sldMk cId="956738131" sldId="883"/>
        </pc:sldMkLst>
        <pc:spChg chg="del">
          <ac:chgData name="christophe CHUECOS-FONT" userId="7e57acaa-4bc6-4644-8edc-0ecdded28594" providerId="ADAL" clId="{7C2EC605-E404-4336-B43F-526B56FEACCB}" dt="2021-03-12T13:10:05.493" v="3947"/>
          <ac:spMkLst>
            <pc:docMk/>
            <pc:sldMk cId="956738131" sldId="883"/>
            <ac:spMk id="23" creationId="{8761DDFE-071F-4200-B0AA-394476C2D2D6}"/>
          </ac:spMkLst>
        </pc:spChg>
      </pc:sldChg>
      <pc:sldChg chg="delSp add del setBg delDesignElem">
        <pc:chgData name="christophe CHUECOS-FONT" userId="7e57acaa-4bc6-4644-8edc-0ecdded28594" providerId="ADAL" clId="{7C2EC605-E404-4336-B43F-526B56FEACCB}" dt="2021-03-12T13:10:21.581" v="3958"/>
        <pc:sldMkLst>
          <pc:docMk/>
          <pc:sldMk cId="564049889" sldId="884"/>
        </pc:sldMkLst>
        <pc:spChg chg="del">
          <ac:chgData name="christophe CHUECOS-FONT" userId="7e57acaa-4bc6-4644-8edc-0ecdded28594" providerId="ADAL" clId="{7C2EC605-E404-4336-B43F-526B56FEACCB}" dt="2021-03-12T13:10:05.493" v="3947"/>
          <ac:spMkLst>
            <pc:docMk/>
            <pc:sldMk cId="564049889" sldId="884"/>
            <ac:spMk id="8" creationId="{7CB4857B-ED7C-444D-9F04-2F885114A1C2}"/>
          </ac:spMkLst>
        </pc:spChg>
        <pc:spChg chg="del">
          <ac:chgData name="christophe CHUECOS-FONT" userId="7e57acaa-4bc6-4644-8edc-0ecdded28594" providerId="ADAL" clId="{7C2EC605-E404-4336-B43F-526B56FEACCB}" dt="2021-03-12T13:10:05.493" v="3947"/>
          <ac:spMkLst>
            <pc:docMk/>
            <pc:sldMk cId="564049889" sldId="884"/>
            <ac:spMk id="10" creationId="{D18046FB-44EA-4FD8-A585-EA09A319B2D0}"/>
          </ac:spMkLst>
        </pc:spChg>
        <pc:spChg chg="del">
          <ac:chgData name="christophe CHUECOS-FONT" userId="7e57acaa-4bc6-4644-8edc-0ecdded28594" providerId="ADAL" clId="{7C2EC605-E404-4336-B43F-526B56FEACCB}" dt="2021-03-12T13:10:05.493" v="3947"/>
          <ac:spMkLst>
            <pc:docMk/>
            <pc:sldMk cId="564049889" sldId="884"/>
            <ac:spMk id="12" creationId="{479F5F2B-8B58-4140-AE6A-51F6C67B18D9}"/>
          </ac:spMkLst>
        </pc:spChg>
      </pc:sldChg>
      <pc:sldChg chg="delSp add del setBg delDesignElem">
        <pc:chgData name="christophe CHUECOS-FONT" userId="7e57acaa-4bc6-4644-8edc-0ecdded28594" providerId="ADAL" clId="{7C2EC605-E404-4336-B43F-526B56FEACCB}" dt="2021-03-12T13:10:21.581" v="3958"/>
        <pc:sldMkLst>
          <pc:docMk/>
          <pc:sldMk cId="2500649885" sldId="885"/>
        </pc:sldMkLst>
        <pc:spChg chg="del">
          <ac:chgData name="christophe CHUECOS-FONT" userId="7e57acaa-4bc6-4644-8edc-0ecdded28594" providerId="ADAL" clId="{7C2EC605-E404-4336-B43F-526B56FEACCB}" dt="2021-03-12T13:10:05.493" v="3947"/>
          <ac:spMkLst>
            <pc:docMk/>
            <pc:sldMk cId="2500649885" sldId="885"/>
            <ac:spMk id="8" creationId="{7CB4857B-ED7C-444D-9F04-2F885114A1C2}"/>
          </ac:spMkLst>
        </pc:spChg>
        <pc:spChg chg="del">
          <ac:chgData name="christophe CHUECOS-FONT" userId="7e57acaa-4bc6-4644-8edc-0ecdded28594" providerId="ADAL" clId="{7C2EC605-E404-4336-B43F-526B56FEACCB}" dt="2021-03-12T13:10:05.493" v="3947"/>
          <ac:spMkLst>
            <pc:docMk/>
            <pc:sldMk cId="2500649885" sldId="885"/>
            <ac:spMk id="10" creationId="{D18046FB-44EA-4FD8-A585-EA09A319B2D0}"/>
          </ac:spMkLst>
        </pc:spChg>
        <pc:spChg chg="del">
          <ac:chgData name="christophe CHUECOS-FONT" userId="7e57acaa-4bc6-4644-8edc-0ecdded28594" providerId="ADAL" clId="{7C2EC605-E404-4336-B43F-526B56FEACCB}" dt="2021-03-12T13:10:05.493" v="3947"/>
          <ac:spMkLst>
            <pc:docMk/>
            <pc:sldMk cId="2500649885" sldId="885"/>
            <ac:spMk id="12" creationId="{479F5F2B-8B58-4140-AE6A-51F6C67B18D9}"/>
          </ac:spMkLst>
        </pc:spChg>
      </pc:sldChg>
      <pc:sldChg chg="delSp add del setBg delDesignElem">
        <pc:chgData name="christophe CHUECOS-FONT" userId="7e57acaa-4bc6-4644-8edc-0ecdded28594" providerId="ADAL" clId="{7C2EC605-E404-4336-B43F-526B56FEACCB}" dt="2021-03-12T13:10:21.581" v="3958"/>
        <pc:sldMkLst>
          <pc:docMk/>
          <pc:sldMk cId="2772397083" sldId="886"/>
        </pc:sldMkLst>
        <pc:spChg chg="del">
          <ac:chgData name="christophe CHUECOS-FONT" userId="7e57acaa-4bc6-4644-8edc-0ecdded28594" providerId="ADAL" clId="{7C2EC605-E404-4336-B43F-526B56FEACCB}" dt="2021-03-12T13:10:05.493" v="3947"/>
          <ac:spMkLst>
            <pc:docMk/>
            <pc:sldMk cId="2772397083" sldId="886"/>
            <ac:spMk id="17" creationId="{100EDD19-6802-4EC3-95CE-CFFAB042CFD6}"/>
          </ac:spMkLst>
        </pc:spChg>
        <pc:spChg chg="del">
          <ac:chgData name="christophe CHUECOS-FONT" userId="7e57acaa-4bc6-4644-8edc-0ecdded28594" providerId="ADAL" clId="{7C2EC605-E404-4336-B43F-526B56FEACCB}" dt="2021-03-12T13:10:05.493" v="3947"/>
          <ac:spMkLst>
            <pc:docMk/>
            <pc:sldMk cId="2772397083" sldId="886"/>
            <ac:spMk id="19" creationId="{DB17E863-922E-4C26-BD64-E8FD41D28661}"/>
          </ac:spMkLst>
        </pc:spChg>
      </pc:sldChg>
      <pc:sldChg chg="delSp add del setBg delDesignElem">
        <pc:chgData name="christophe CHUECOS-FONT" userId="7e57acaa-4bc6-4644-8edc-0ecdded28594" providerId="ADAL" clId="{7C2EC605-E404-4336-B43F-526B56FEACCB}" dt="2021-03-12T13:10:21.581" v="3958"/>
        <pc:sldMkLst>
          <pc:docMk/>
          <pc:sldMk cId="4010406189" sldId="887"/>
        </pc:sldMkLst>
        <pc:spChg chg="del">
          <ac:chgData name="christophe CHUECOS-FONT" userId="7e57acaa-4bc6-4644-8edc-0ecdded28594" providerId="ADAL" clId="{7C2EC605-E404-4336-B43F-526B56FEACCB}" dt="2021-03-12T13:10:05.493" v="3947"/>
          <ac:spMkLst>
            <pc:docMk/>
            <pc:sldMk cId="4010406189" sldId="887"/>
            <ac:spMk id="17" creationId="{100EDD19-6802-4EC3-95CE-CFFAB042CFD6}"/>
          </ac:spMkLst>
        </pc:spChg>
        <pc:spChg chg="del">
          <ac:chgData name="christophe CHUECOS-FONT" userId="7e57acaa-4bc6-4644-8edc-0ecdded28594" providerId="ADAL" clId="{7C2EC605-E404-4336-B43F-526B56FEACCB}" dt="2021-03-12T13:10:05.493" v="3947"/>
          <ac:spMkLst>
            <pc:docMk/>
            <pc:sldMk cId="4010406189" sldId="887"/>
            <ac:spMk id="19" creationId="{DB17E863-922E-4C26-BD64-E8FD41D28661}"/>
          </ac:spMkLst>
        </pc:spChg>
      </pc:sldChg>
      <pc:sldChg chg="modSp add mod ord">
        <pc:chgData name="christophe CHUECOS-FONT" userId="7e57acaa-4bc6-4644-8edc-0ecdded28594" providerId="ADAL" clId="{7C2EC605-E404-4336-B43F-526B56FEACCB}" dt="2021-03-12T13:13:02.262" v="4064" actId="27636"/>
        <pc:sldMkLst>
          <pc:docMk/>
          <pc:sldMk cId="4292866186" sldId="888"/>
        </pc:sldMkLst>
        <pc:spChg chg="mod">
          <ac:chgData name="christophe CHUECOS-FONT" userId="7e57acaa-4bc6-4644-8edc-0ecdded28594" providerId="ADAL" clId="{7C2EC605-E404-4336-B43F-526B56FEACCB}" dt="2021-03-12T13:12:04.868" v="4054" actId="6549"/>
          <ac:spMkLst>
            <pc:docMk/>
            <pc:sldMk cId="4292866186" sldId="888"/>
            <ac:spMk id="2" creationId="{AEFCB68E-E041-4E46-A233-3C2208DA32CB}"/>
          </ac:spMkLst>
        </pc:spChg>
        <pc:spChg chg="mod">
          <ac:chgData name="christophe CHUECOS-FONT" userId="7e57acaa-4bc6-4644-8edc-0ecdded28594" providerId="ADAL" clId="{7C2EC605-E404-4336-B43F-526B56FEACCB}" dt="2021-03-12T13:13:02.262" v="4064" actId="27636"/>
          <ac:spMkLst>
            <pc:docMk/>
            <pc:sldMk cId="4292866186" sldId="888"/>
            <ac:spMk id="3" creationId="{9FA71A85-160A-4CFF-9241-BA71D421B86B}"/>
          </ac:spMkLst>
        </pc:spChg>
      </pc:sldChg>
      <pc:sldChg chg="modSp add mod ord">
        <pc:chgData name="christophe CHUECOS-FONT" userId="7e57acaa-4bc6-4644-8edc-0ecdded28594" providerId="ADAL" clId="{7C2EC605-E404-4336-B43F-526B56FEACCB}" dt="2021-03-12T13:13:41.366" v="4081" actId="27636"/>
        <pc:sldMkLst>
          <pc:docMk/>
          <pc:sldMk cId="3854511998" sldId="889"/>
        </pc:sldMkLst>
        <pc:spChg chg="mod">
          <ac:chgData name="christophe CHUECOS-FONT" userId="7e57acaa-4bc6-4644-8edc-0ecdded28594" providerId="ADAL" clId="{7C2EC605-E404-4336-B43F-526B56FEACCB}" dt="2021-03-12T13:13:18.600" v="4077" actId="14100"/>
          <ac:spMkLst>
            <pc:docMk/>
            <pc:sldMk cId="3854511998" sldId="889"/>
            <ac:spMk id="2" creationId="{AEFCB68E-E041-4E46-A233-3C2208DA32CB}"/>
          </ac:spMkLst>
        </pc:spChg>
        <pc:spChg chg="mod">
          <ac:chgData name="christophe CHUECOS-FONT" userId="7e57acaa-4bc6-4644-8edc-0ecdded28594" providerId="ADAL" clId="{7C2EC605-E404-4336-B43F-526B56FEACCB}" dt="2021-03-12T13:13:41.366" v="4081" actId="27636"/>
          <ac:spMkLst>
            <pc:docMk/>
            <pc:sldMk cId="3854511998" sldId="889"/>
            <ac:spMk id="3" creationId="{9FA71A85-160A-4CFF-9241-BA71D421B86B}"/>
          </ac:spMkLst>
        </pc:spChg>
      </pc:sldChg>
    </pc:docChg>
  </pc:docChgLst>
</pc:chgInfo>
</file>

<file path=ppt/diagrams/_rels/data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svg"/><Relationship Id="rId1" Type="http://schemas.openxmlformats.org/officeDocument/2006/relationships/image" Target="../media/image18.png"/><Relationship Id="rId4" Type="http://schemas.openxmlformats.org/officeDocument/2006/relationships/image" Target="../media/image21.svg"/></Relationships>
</file>

<file path=ppt/diagrams/_rels/drawing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svg"/><Relationship Id="rId1" Type="http://schemas.openxmlformats.org/officeDocument/2006/relationships/image" Target="../media/image18.png"/><Relationship Id="rId4" Type="http://schemas.openxmlformats.org/officeDocument/2006/relationships/image" Target="../media/image21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1#2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1#3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18/5/colors/Iconchunking_neutralbg_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F901C7B-BAA6-4AD1-842D-961C5D9A9089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00C73B3D-228F-4384-92FF-9F7DE44A8DE6}">
      <dgm:prSet phldrT="[Texte]"/>
      <dgm:spPr/>
      <dgm:t>
        <a:bodyPr/>
        <a:lstStyle/>
        <a:p>
          <a:r>
            <a:rPr lang="fr-FR" dirty="0"/>
            <a:t>Compte de résultat</a:t>
          </a:r>
        </a:p>
      </dgm:t>
    </dgm:pt>
    <dgm:pt modelId="{C35AD8C4-CD21-44F3-B06F-28FB3631C531}" type="parTrans" cxnId="{ABC68856-86E3-4A51-86BD-98EF4A98129C}">
      <dgm:prSet/>
      <dgm:spPr/>
      <dgm:t>
        <a:bodyPr/>
        <a:lstStyle/>
        <a:p>
          <a:endParaRPr lang="fr-FR"/>
        </a:p>
      </dgm:t>
    </dgm:pt>
    <dgm:pt modelId="{5378F4B6-194C-4B7F-8163-6D00CF19CCF3}" type="sibTrans" cxnId="{ABC68856-86E3-4A51-86BD-98EF4A98129C}">
      <dgm:prSet/>
      <dgm:spPr/>
      <dgm:t>
        <a:bodyPr/>
        <a:lstStyle/>
        <a:p>
          <a:endParaRPr lang="fr-FR"/>
        </a:p>
      </dgm:t>
    </dgm:pt>
    <dgm:pt modelId="{E44A26EA-D4B6-4401-8E8C-39CFF3961EB6}">
      <dgm:prSet phldrT="[Texte]"/>
      <dgm:spPr/>
      <dgm:t>
        <a:bodyPr/>
        <a:lstStyle/>
        <a:p>
          <a:r>
            <a:rPr lang="fr-FR" dirty="0"/>
            <a:t>Bilan</a:t>
          </a:r>
        </a:p>
      </dgm:t>
    </dgm:pt>
    <dgm:pt modelId="{88E2E84D-69DD-40B3-B8E8-4E2E47FA6D29}" type="parTrans" cxnId="{82A77919-1B4F-46CB-9DCC-DB432BC323B2}">
      <dgm:prSet/>
      <dgm:spPr/>
      <dgm:t>
        <a:bodyPr/>
        <a:lstStyle/>
        <a:p>
          <a:endParaRPr lang="fr-FR"/>
        </a:p>
      </dgm:t>
    </dgm:pt>
    <dgm:pt modelId="{44D1DC7C-A65F-480A-9171-CB76900B5C87}" type="sibTrans" cxnId="{82A77919-1B4F-46CB-9DCC-DB432BC323B2}">
      <dgm:prSet/>
      <dgm:spPr/>
      <dgm:t>
        <a:bodyPr/>
        <a:lstStyle/>
        <a:p>
          <a:endParaRPr lang="fr-FR"/>
        </a:p>
      </dgm:t>
    </dgm:pt>
    <dgm:pt modelId="{BE7649B2-F323-44B5-BA28-DA4351DD5DB9}">
      <dgm:prSet phldrT="[Texte]"/>
      <dgm:spPr/>
      <dgm:t>
        <a:bodyPr/>
        <a:lstStyle/>
        <a:p>
          <a:r>
            <a:rPr lang="fr-FR" dirty="0"/>
            <a:t>Annexes</a:t>
          </a:r>
        </a:p>
      </dgm:t>
    </dgm:pt>
    <dgm:pt modelId="{00723577-789E-4DF6-B879-E326B1CDCDBD}" type="parTrans" cxnId="{6C8BB305-758C-4F69-B5C1-BAEDCC45D0E6}">
      <dgm:prSet/>
      <dgm:spPr/>
      <dgm:t>
        <a:bodyPr/>
        <a:lstStyle/>
        <a:p>
          <a:endParaRPr lang="fr-FR"/>
        </a:p>
      </dgm:t>
    </dgm:pt>
    <dgm:pt modelId="{76FC61F1-5F06-4674-A833-73DACF546521}" type="sibTrans" cxnId="{6C8BB305-758C-4F69-B5C1-BAEDCC45D0E6}">
      <dgm:prSet/>
      <dgm:spPr/>
      <dgm:t>
        <a:bodyPr/>
        <a:lstStyle/>
        <a:p>
          <a:endParaRPr lang="fr-FR"/>
        </a:p>
      </dgm:t>
    </dgm:pt>
    <dgm:pt modelId="{0EF87B38-E5B0-4269-8C75-E9A34F0B5CFD}" type="pres">
      <dgm:prSet presAssocID="{8F901C7B-BAA6-4AD1-842D-961C5D9A9089}" presName="linear" presStyleCnt="0">
        <dgm:presLayoutVars>
          <dgm:dir/>
          <dgm:animLvl val="lvl"/>
          <dgm:resizeHandles val="exact"/>
        </dgm:presLayoutVars>
      </dgm:prSet>
      <dgm:spPr/>
    </dgm:pt>
    <dgm:pt modelId="{7A7428FF-221E-4943-AA38-75319287F232}" type="pres">
      <dgm:prSet presAssocID="{00C73B3D-228F-4384-92FF-9F7DE44A8DE6}" presName="parentLin" presStyleCnt="0"/>
      <dgm:spPr/>
    </dgm:pt>
    <dgm:pt modelId="{59CF1BDE-46AB-4D2F-AB6D-04AFA7528BEC}" type="pres">
      <dgm:prSet presAssocID="{00C73B3D-228F-4384-92FF-9F7DE44A8DE6}" presName="parentLeftMargin" presStyleLbl="node1" presStyleIdx="0" presStyleCnt="3"/>
      <dgm:spPr/>
    </dgm:pt>
    <dgm:pt modelId="{75037305-83E3-4787-AC55-511F1C9187EA}" type="pres">
      <dgm:prSet presAssocID="{00C73B3D-228F-4384-92FF-9F7DE44A8DE6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E5D876E1-E6B1-42DA-9452-4890EFD6F637}" type="pres">
      <dgm:prSet presAssocID="{00C73B3D-228F-4384-92FF-9F7DE44A8DE6}" presName="negativeSpace" presStyleCnt="0"/>
      <dgm:spPr/>
    </dgm:pt>
    <dgm:pt modelId="{6D613CB9-3A4C-4939-93D5-E83E0F65FD04}" type="pres">
      <dgm:prSet presAssocID="{00C73B3D-228F-4384-92FF-9F7DE44A8DE6}" presName="childText" presStyleLbl="conFgAcc1" presStyleIdx="0" presStyleCnt="3">
        <dgm:presLayoutVars>
          <dgm:bulletEnabled val="1"/>
        </dgm:presLayoutVars>
      </dgm:prSet>
      <dgm:spPr/>
    </dgm:pt>
    <dgm:pt modelId="{B39128E0-1C76-475F-BF9B-48856B5A8C60}" type="pres">
      <dgm:prSet presAssocID="{5378F4B6-194C-4B7F-8163-6D00CF19CCF3}" presName="spaceBetweenRectangles" presStyleCnt="0"/>
      <dgm:spPr/>
    </dgm:pt>
    <dgm:pt modelId="{EAE9F5F6-112E-4C05-A477-9483C9104905}" type="pres">
      <dgm:prSet presAssocID="{E44A26EA-D4B6-4401-8E8C-39CFF3961EB6}" presName="parentLin" presStyleCnt="0"/>
      <dgm:spPr/>
    </dgm:pt>
    <dgm:pt modelId="{4AEBA458-7D18-4FA6-9B49-D6F8B457DD82}" type="pres">
      <dgm:prSet presAssocID="{E44A26EA-D4B6-4401-8E8C-39CFF3961EB6}" presName="parentLeftMargin" presStyleLbl="node1" presStyleIdx="0" presStyleCnt="3"/>
      <dgm:spPr/>
    </dgm:pt>
    <dgm:pt modelId="{29052732-6FC8-4008-9C37-CF24C363BF22}" type="pres">
      <dgm:prSet presAssocID="{E44A26EA-D4B6-4401-8E8C-39CFF3961EB6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54E0518D-AD7E-433A-8868-6D04DC270372}" type="pres">
      <dgm:prSet presAssocID="{E44A26EA-D4B6-4401-8E8C-39CFF3961EB6}" presName="negativeSpace" presStyleCnt="0"/>
      <dgm:spPr/>
    </dgm:pt>
    <dgm:pt modelId="{4447E237-EF9A-4AE3-881D-3EED36507D87}" type="pres">
      <dgm:prSet presAssocID="{E44A26EA-D4B6-4401-8E8C-39CFF3961EB6}" presName="childText" presStyleLbl="conFgAcc1" presStyleIdx="1" presStyleCnt="3">
        <dgm:presLayoutVars>
          <dgm:bulletEnabled val="1"/>
        </dgm:presLayoutVars>
      </dgm:prSet>
      <dgm:spPr/>
    </dgm:pt>
    <dgm:pt modelId="{D19155AA-19EE-4D34-A481-4F5B41AEE07C}" type="pres">
      <dgm:prSet presAssocID="{44D1DC7C-A65F-480A-9171-CB76900B5C87}" presName="spaceBetweenRectangles" presStyleCnt="0"/>
      <dgm:spPr/>
    </dgm:pt>
    <dgm:pt modelId="{6BAC0236-19FD-4850-846B-E342BC32686C}" type="pres">
      <dgm:prSet presAssocID="{BE7649B2-F323-44B5-BA28-DA4351DD5DB9}" presName="parentLin" presStyleCnt="0"/>
      <dgm:spPr/>
    </dgm:pt>
    <dgm:pt modelId="{FA5D6622-EABE-4D42-9C3A-930603C49E12}" type="pres">
      <dgm:prSet presAssocID="{BE7649B2-F323-44B5-BA28-DA4351DD5DB9}" presName="parentLeftMargin" presStyleLbl="node1" presStyleIdx="1" presStyleCnt="3"/>
      <dgm:spPr/>
    </dgm:pt>
    <dgm:pt modelId="{712F8742-EB25-4059-8359-A210A523DEB7}" type="pres">
      <dgm:prSet presAssocID="{BE7649B2-F323-44B5-BA28-DA4351DD5DB9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6D5F6311-EBD0-4609-9E7E-3C6DE9D30753}" type="pres">
      <dgm:prSet presAssocID="{BE7649B2-F323-44B5-BA28-DA4351DD5DB9}" presName="negativeSpace" presStyleCnt="0"/>
      <dgm:spPr/>
    </dgm:pt>
    <dgm:pt modelId="{C882D4E8-0B22-4B6C-923B-0EC6267CCECD}" type="pres">
      <dgm:prSet presAssocID="{BE7649B2-F323-44B5-BA28-DA4351DD5DB9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6C8BB305-758C-4F69-B5C1-BAEDCC45D0E6}" srcId="{8F901C7B-BAA6-4AD1-842D-961C5D9A9089}" destId="{BE7649B2-F323-44B5-BA28-DA4351DD5DB9}" srcOrd="2" destOrd="0" parTransId="{00723577-789E-4DF6-B879-E326B1CDCDBD}" sibTransId="{76FC61F1-5F06-4674-A833-73DACF546521}"/>
    <dgm:cxn modelId="{A080D30E-4BBE-42C5-BC1A-9AAEEFC18F5B}" type="presOf" srcId="{00C73B3D-228F-4384-92FF-9F7DE44A8DE6}" destId="{59CF1BDE-46AB-4D2F-AB6D-04AFA7528BEC}" srcOrd="0" destOrd="0" presId="urn:microsoft.com/office/officeart/2005/8/layout/list1"/>
    <dgm:cxn modelId="{82A77919-1B4F-46CB-9DCC-DB432BC323B2}" srcId="{8F901C7B-BAA6-4AD1-842D-961C5D9A9089}" destId="{E44A26EA-D4B6-4401-8E8C-39CFF3961EB6}" srcOrd="1" destOrd="0" parTransId="{88E2E84D-69DD-40B3-B8E8-4E2E47FA6D29}" sibTransId="{44D1DC7C-A65F-480A-9171-CB76900B5C87}"/>
    <dgm:cxn modelId="{55AF9027-786C-4A47-9FEE-3CD7339DBF15}" type="presOf" srcId="{00C73B3D-228F-4384-92FF-9F7DE44A8DE6}" destId="{75037305-83E3-4787-AC55-511F1C9187EA}" srcOrd="1" destOrd="0" presId="urn:microsoft.com/office/officeart/2005/8/layout/list1"/>
    <dgm:cxn modelId="{FB536841-F513-4D3A-9B38-6890AC0B00C9}" type="presOf" srcId="{BE7649B2-F323-44B5-BA28-DA4351DD5DB9}" destId="{712F8742-EB25-4059-8359-A210A523DEB7}" srcOrd="1" destOrd="0" presId="urn:microsoft.com/office/officeart/2005/8/layout/list1"/>
    <dgm:cxn modelId="{1A56D869-FB5C-4528-94B5-7B843ED93B5E}" type="presOf" srcId="{E44A26EA-D4B6-4401-8E8C-39CFF3961EB6}" destId="{29052732-6FC8-4008-9C37-CF24C363BF22}" srcOrd="1" destOrd="0" presId="urn:microsoft.com/office/officeart/2005/8/layout/list1"/>
    <dgm:cxn modelId="{ABC68856-86E3-4A51-86BD-98EF4A98129C}" srcId="{8F901C7B-BAA6-4AD1-842D-961C5D9A9089}" destId="{00C73B3D-228F-4384-92FF-9F7DE44A8DE6}" srcOrd="0" destOrd="0" parTransId="{C35AD8C4-CD21-44F3-B06F-28FB3631C531}" sibTransId="{5378F4B6-194C-4B7F-8163-6D00CF19CCF3}"/>
    <dgm:cxn modelId="{8BD1A288-2432-40B2-A820-51DE5934D377}" type="presOf" srcId="{8F901C7B-BAA6-4AD1-842D-961C5D9A9089}" destId="{0EF87B38-E5B0-4269-8C75-E9A34F0B5CFD}" srcOrd="0" destOrd="0" presId="urn:microsoft.com/office/officeart/2005/8/layout/list1"/>
    <dgm:cxn modelId="{34A7EBA9-2965-4C61-8B74-366189933692}" type="presOf" srcId="{BE7649B2-F323-44B5-BA28-DA4351DD5DB9}" destId="{FA5D6622-EABE-4D42-9C3A-930603C49E12}" srcOrd="0" destOrd="0" presId="urn:microsoft.com/office/officeart/2005/8/layout/list1"/>
    <dgm:cxn modelId="{AB114FC5-9456-4A15-A7A2-D27C115E320E}" type="presOf" srcId="{E44A26EA-D4B6-4401-8E8C-39CFF3961EB6}" destId="{4AEBA458-7D18-4FA6-9B49-D6F8B457DD82}" srcOrd="0" destOrd="0" presId="urn:microsoft.com/office/officeart/2005/8/layout/list1"/>
    <dgm:cxn modelId="{D30B5004-7586-4645-9457-36782C309B5F}" type="presParOf" srcId="{0EF87B38-E5B0-4269-8C75-E9A34F0B5CFD}" destId="{7A7428FF-221E-4943-AA38-75319287F232}" srcOrd="0" destOrd="0" presId="urn:microsoft.com/office/officeart/2005/8/layout/list1"/>
    <dgm:cxn modelId="{B7A42151-441E-42E2-9352-A228E6455699}" type="presParOf" srcId="{7A7428FF-221E-4943-AA38-75319287F232}" destId="{59CF1BDE-46AB-4D2F-AB6D-04AFA7528BEC}" srcOrd="0" destOrd="0" presId="urn:microsoft.com/office/officeart/2005/8/layout/list1"/>
    <dgm:cxn modelId="{DD1EA270-A4F8-4738-8E86-FD853A70D8D7}" type="presParOf" srcId="{7A7428FF-221E-4943-AA38-75319287F232}" destId="{75037305-83E3-4787-AC55-511F1C9187EA}" srcOrd="1" destOrd="0" presId="urn:microsoft.com/office/officeart/2005/8/layout/list1"/>
    <dgm:cxn modelId="{E9F04BCF-804B-4401-86A8-08FAE18ED231}" type="presParOf" srcId="{0EF87B38-E5B0-4269-8C75-E9A34F0B5CFD}" destId="{E5D876E1-E6B1-42DA-9452-4890EFD6F637}" srcOrd="1" destOrd="0" presId="urn:microsoft.com/office/officeart/2005/8/layout/list1"/>
    <dgm:cxn modelId="{A1D42C1B-140F-4AEC-AFDB-E9C7B7D5B5CF}" type="presParOf" srcId="{0EF87B38-E5B0-4269-8C75-E9A34F0B5CFD}" destId="{6D613CB9-3A4C-4939-93D5-E83E0F65FD04}" srcOrd="2" destOrd="0" presId="urn:microsoft.com/office/officeart/2005/8/layout/list1"/>
    <dgm:cxn modelId="{0FE121D4-17D8-42F9-9CEE-3E693F60A6CD}" type="presParOf" srcId="{0EF87B38-E5B0-4269-8C75-E9A34F0B5CFD}" destId="{B39128E0-1C76-475F-BF9B-48856B5A8C60}" srcOrd="3" destOrd="0" presId="urn:microsoft.com/office/officeart/2005/8/layout/list1"/>
    <dgm:cxn modelId="{68E82329-A85B-4048-AC49-D9BC228C5D2B}" type="presParOf" srcId="{0EF87B38-E5B0-4269-8C75-E9A34F0B5CFD}" destId="{EAE9F5F6-112E-4C05-A477-9483C9104905}" srcOrd="4" destOrd="0" presId="urn:microsoft.com/office/officeart/2005/8/layout/list1"/>
    <dgm:cxn modelId="{65429AA2-B528-4F54-956F-6F0FE8B3B4BC}" type="presParOf" srcId="{EAE9F5F6-112E-4C05-A477-9483C9104905}" destId="{4AEBA458-7D18-4FA6-9B49-D6F8B457DD82}" srcOrd="0" destOrd="0" presId="urn:microsoft.com/office/officeart/2005/8/layout/list1"/>
    <dgm:cxn modelId="{67FC050C-0559-456A-B70C-4DEB5A5277FD}" type="presParOf" srcId="{EAE9F5F6-112E-4C05-A477-9483C9104905}" destId="{29052732-6FC8-4008-9C37-CF24C363BF22}" srcOrd="1" destOrd="0" presId="urn:microsoft.com/office/officeart/2005/8/layout/list1"/>
    <dgm:cxn modelId="{7396BF1D-1667-47C0-9F0A-EBFBFBA60645}" type="presParOf" srcId="{0EF87B38-E5B0-4269-8C75-E9A34F0B5CFD}" destId="{54E0518D-AD7E-433A-8868-6D04DC270372}" srcOrd="5" destOrd="0" presId="urn:microsoft.com/office/officeart/2005/8/layout/list1"/>
    <dgm:cxn modelId="{28F041FE-BFAB-4BF9-BF1F-32A05F78FAB2}" type="presParOf" srcId="{0EF87B38-E5B0-4269-8C75-E9A34F0B5CFD}" destId="{4447E237-EF9A-4AE3-881D-3EED36507D87}" srcOrd="6" destOrd="0" presId="urn:microsoft.com/office/officeart/2005/8/layout/list1"/>
    <dgm:cxn modelId="{FA3D2E79-711A-4117-A88B-154526997576}" type="presParOf" srcId="{0EF87B38-E5B0-4269-8C75-E9A34F0B5CFD}" destId="{D19155AA-19EE-4D34-A481-4F5B41AEE07C}" srcOrd="7" destOrd="0" presId="urn:microsoft.com/office/officeart/2005/8/layout/list1"/>
    <dgm:cxn modelId="{E8B1B4E8-2600-4A04-90E7-5B8D8756597B}" type="presParOf" srcId="{0EF87B38-E5B0-4269-8C75-E9A34F0B5CFD}" destId="{6BAC0236-19FD-4850-846B-E342BC32686C}" srcOrd="8" destOrd="0" presId="urn:microsoft.com/office/officeart/2005/8/layout/list1"/>
    <dgm:cxn modelId="{1A5C97E4-65E2-4FDA-A4AD-31E880336029}" type="presParOf" srcId="{6BAC0236-19FD-4850-846B-E342BC32686C}" destId="{FA5D6622-EABE-4D42-9C3A-930603C49E12}" srcOrd="0" destOrd="0" presId="urn:microsoft.com/office/officeart/2005/8/layout/list1"/>
    <dgm:cxn modelId="{71186CC6-8A14-4FE1-A1D3-7872CAD1B387}" type="presParOf" srcId="{6BAC0236-19FD-4850-846B-E342BC32686C}" destId="{712F8742-EB25-4059-8359-A210A523DEB7}" srcOrd="1" destOrd="0" presId="urn:microsoft.com/office/officeart/2005/8/layout/list1"/>
    <dgm:cxn modelId="{EFDFAF3C-514D-42A2-8B10-D53559691845}" type="presParOf" srcId="{0EF87B38-E5B0-4269-8C75-E9A34F0B5CFD}" destId="{6D5F6311-EBD0-4609-9E7E-3C6DE9D30753}" srcOrd="9" destOrd="0" presId="urn:microsoft.com/office/officeart/2005/8/layout/list1"/>
    <dgm:cxn modelId="{B5B83356-FE13-4CF7-9DE5-55D5F6788E73}" type="presParOf" srcId="{0EF87B38-E5B0-4269-8C75-E9A34F0B5CFD}" destId="{C882D4E8-0B22-4B6C-923B-0EC6267CCECD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787C544D-3023-4F60-B53C-768C848DCD54}" type="doc">
      <dgm:prSet loTypeId="urn:microsoft.com/office/officeart/2005/8/layout/vProcess5" loCatId="process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7246902C-F380-4244-A491-559EECE887E9}">
      <dgm:prSet phldrT="[Texte]" custT="1"/>
      <dgm:spPr/>
      <dgm:t>
        <a:bodyPr/>
        <a:lstStyle/>
        <a:p>
          <a:pPr algn="l"/>
          <a:r>
            <a:rPr lang="fr-FR" sz="2000" kern="1200" dirty="0">
              <a:latin typeface="Arial" panose="020B0604020202020204" pitchFamily="34" charset="0"/>
              <a:cs typeface="Arial" panose="020B0604020202020204" pitchFamily="34" charset="0"/>
            </a:rPr>
            <a:t>26 - Participations et créances rattachées à des participations</a:t>
          </a:r>
        </a:p>
        <a:p>
          <a:r>
            <a:rPr lang="fr-FR" sz="2000" kern="1200" dirty="0">
              <a:latin typeface="Arial" panose="020B0604020202020204" pitchFamily="34" charset="0"/>
              <a:cs typeface="Arial" panose="020B0604020202020204" pitchFamily="34" charset="0"/>
            </a:rPr>
            <a:t>	- 261 - Titres de participation</a:t>
          </a:r>
        </a:p>
        <a:p>
          <a:r>
            <a:rPr lang="fr-FR" sz="2000" kern="1200" dirty="0">
              <a:latin typeface="Arial" panose="020B0604020202020204" pitchFamily="34" charset="0"/>
              <a:cs typeface="Arial" panose="020B0604020202020204" pitchFamily="34" charset="0"/>
            </a:rPr>
            <a:t>27 - Autres immobilisations financières</a:t>
          </a:r>
        </a:p>
        <a:p>
          <a:r>
            <a:rPr lang="fr-FR" sz="2000" kern="1200" dirty="0">
              <a:latin typeface="Arial" panose="020B0604020202020204" pitchFamily="34" charset="0"/>
              <a:cs typeface="Arial" panose="020B0604020202020204" pitchFamily="34" charset="0"/>
            </a:rPr>
            <a:t>	- 271 - Titres immobilisés autres que les TIAP</a:t>
          </a:r>
        </a:p>
        <a:p>
          <a:r>
            <a:rPr lang="fr-FR" sz="2000" kern="1200" dirty="0">
              <a:latin typeface="Arial" panose="020B0604020202020204" pitchFamily="34" charset="0"/>
              <a:cs typeface="Arial" panose="020B0604020202020204" pitchFamily="34" charset="0"/>
            </a:rPr>
            <a:t>273 - Titres immobilisés de l'activité de portefeuille ( TIAP)</a:t>
          </a:r>
        </a:p>
        <a:p>
          <a:r>
            <a:rPr lang="fr-FR" sz="2000" kern="1200" dirty="0">
              <a:latin typeface="Arial" panose="020B0604020202020204" pitchFamily="34" charset="0"/>
              <a:cs typeface="Arial" panose="020B0604020202020204" pitchFamily="34" charset="0"/>
            </a:rPr>
            <a:t>274 – Prêts</a:t>
          </a:r>
        </a:p>
        <a:p>
          <a:r>
            <a:rPr lang="fr-FR" sz="2000" kern="1200" dirty="0">
              <a:latin typeface="Arial" panose="020B0604020202020204" pitchFamily="34" charset="0"/>
              <a:cs typeface="Arial" panose="020B0604020202020204" pitchFamily="34" charset="0"/>
            </a:rPr>
            <a:t>	- 2741 - Prêts participatifs</a:t>
          </a:r>
        </a:p>
        <a:p>
          <a:r>
            <a:rPr lang="fr-FR" sz="2000" kern="1200" dirty="0">
              <a:latin typeface="Arial" panose="020B0604020202020204" pitchFamily="34" charset="0"/>
              <a:cs typeface="Arial" panose="020B0604020202020204" pitchFamily="34" charset="0"/>
            </a:rPr>
            <a:t>	- 2742 - Prêts aux associés</a:t>
          </a:r>
        </a:p>
        <a:p>
          <a:r>
            <a:rPr lang="fr-FR" sz="2000" kern="1200" dirty="0">
              <a:latin typeface="Arial" panose="020B0604020202020204" pitchFamily="34" charset="0"/>
              <a:cs typeface="Arial" panose="020B0604020202020204" pitchFamily="34" charset="0"/>
            </a:rPr>
            <a:t>	- 2743 - Prêts au personnel</a:t>
          </a:r>
        </a:p>
        <a:p>
          <a:r>
            <a:rPr lang="fr-FR" sz="2000" kern="1200" dirty="0">
              <a:latin typeface="Arial" panose="020B0604020202020204" pitchFamily="34" charset="0"/>
              <a:cs typeface="Arial" panose="020B0604020202020204" pitchFamily="34" charset="0"/>
            </a:rPr>
            <a:t>275 - Dépôts et cautionnements versés</a:t>
          </a:r>
          <a:endParaRPr lang="fr-FR" sz="2000" kern="1200" dirty="0"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C2C3550A-F1DD-4C8C-85ED-D96508225E30}" type="parTrans" cxnId="{E06F28F0-0187-4070-8490-6E6A76C82FBA}">
      <dgm:prSet/>
      <dgm:spPr/>
      <dgm:t>
        <a:bodyPr/>
        <a:lstStyle/>
        <a:p>
          <a:endParaRPr lang="fr-FR"/>
        </a:p>
      </dgm:t>
    </dgm:pt>
    <dgm:pt modelId="{19CBF419-9E92-4D5F-A934-D88F01C9054D}" type="sibTrans" cxnId="{E06F28F0-0187-4070-8490-6E6A76C82FBA}">
      <dgm:prSet/>
      <dgm:spPr/>
      <dgm:t>
        <a:bodyPr/>
        <a:lstStyle/>
        <a:p>
          <a:endParaRPr lang="fr-FR"/>
        </a:p>
      </dgm:t>
    </dgm:pt>
    <dgm:pt modelId="{DE71EF63-F0A2-4E1F-9EFF-6CF466F74FE1}" type="pres">
      <dgm:prSet presAssocID="{787C544D-3023-4F60-B53C-768C848DCD54}" presName="outerComposite" presStyleCnt="0">
        <dgm:presLayoutVars>
          <dgm:chMax val="5"/>
          <dgm:dir/>
          <dgm:resizeHandles val="exact"/>
        </dgm:presLayoutVars>
      </dgm:prSet>
      <dgm:spPr/>
    </dgm:pt>
    <dgm:pt modelId="{B64CC261-BD97-4DFF-9209-B3228AAB22D4}" type="pres">
      <dgm:prSet presAssocID="{787C544D-3023-4F60-B53C-768C848DCD54}" presName="dummyMaxCanvas" presStyleCnt="0">
        <dgm:presLayoutVars/>
      </dgm:prSet>
      <dgm:spPr/>
    </dgm:pt>
    <dgm:pt modelId="{67D84562-8FA5-49BC-8F2E-C4E3ABC0F302}" type="pres">
      <dgm:prSet presAssocID="{787C544D-3023-4F60-B53C-768C848DCD54}" presName="OneNode_1" presStyleLbl="node1" presStyleIdx="0" presStyleCnt="1" custScaleY="200000">
        <dgm:presLayoutVars>
          <dgm:bulletEnabled val="1"/>
        </dgm:presLayoutVars>
      </dgm:prSet>
      <dgm:spPr/>
    </dgm:pt>
  </dgm:ptLst>
  <dgm:cxnLst>
    <dgm:cxn modelId="{CE416505-0FAC-4AAF-AC05-B853CC37A930}" type="presOf" srcId="{787C544D-3023-4F60-B53C-768C848DCD54}" destId="{DE71EF63-F0A2-4E1F-9EFF-6CF466F74FE1}" srcOrd="0" destOrd="0" presId="urn:microsoft.com/office/officeart/2005/8/layout/vProcess5"/>
    <dgm:cxn modelId="{CBB5A1BD-36F8-468B-A910-A548017FF346}" type="presOf" srcId="{7246902C-F380-4244-A491-559EECE887E9}" destId="{67D84562-8FA5-49BC-8F2E-C4E3ABC0F302}" srcOrd="0" destOrd="0" presId="urn:microsoft.com/office/officeart/2005/8/layout/vProcess5"/>
    <dgm:cxn modelId="{E06F28F0-0187-4070-8490-6E6A76C82FBA}" srcId="{787C544D-3023-4F60-B53C-768C848DCD54}" destId="{7246902C-F380-4244-A491-559EECE887E9}" srcOrd="0" destOrd="0" parTransId="{C2C3550A-F1DD-4C8C-85ED-D96508225E30}" sibTransId="{19CBF419-9E92-4D5F-A934-D88F01C9054D}"/>
    <dgm:cxn modelId="{9F5EF7D9-55FA-4E61-9B83-5BE7CAEA6159}" type="presParOf" srcId="{DE71EF63-F0A2-4E1F-9EFF-6CF466F74FE1}" destId="{B64CC261-BD97-4DFF-9209-B3228AAB22D4}" srcOrd="0" destOrd="0" presId="urn:microsoft.com/office/officeart/2005/8/layout/vProcess5"/>
    <dgm:cxn modelId="{2024F099-8755-43F5-86F0-0F2B1D2DD014}" type="presParOf" srcId="{DE71EF63-F0A2-4E1F-9EFF-6CF466F74FE1}" destId="{67D84562-8FA5-49BC-8F2E-C4E3ABC0F302}" srcOrd="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787C544D-3023-4F60-B53C-768C848DCD54}" type="doc">
      <dgm:prSet loTypeId="urn:microsoft.com/office/officeart/2005/8/layout/vProcess5" loCatId="process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7246902C-F380-4244-A491-559EECE887E9}">
      <dgm:prSet phldrT="[Texte]" custT="1"/>
      <dgm:spPr/>
      <dgm:t>
        <a:bodyPr/>
        <a:lstStyle/>
        <a:p>
          <a:pPr algn="l"/>
          <a:r>
            <a:rPr lang="fr-FR" sz="2800" kern="1200" dirty="0">
              <a:latin typeface="Arial" panose="020B0604020202020204" pitchFamily="34" charset="0"/>
              <a:cs typeface="Arial" panose="020B0604020202020204" pitchFamily="34" charset="0"/>
            </a:rPr>
            <a:t>8 (2eme position) =&gt; amortissement</a:t>
          </a:r>
        </a:p>
        <a:p>
          <a:r>
            <a:rPr lang="fr-FR" sz="2800" kern="1200" dirty="0">
              <a:latin typeface="Arial" panose="020B0604020202020204" pitchFamily="34" charset="0"/>
              <a:cs typeface="Arial" panose="020B0604020202020204" pitchFamily="34" charset="0"/>
            </a:rPr>
            <a:t>	- 2182 – Matériel de transport</a:t>
          </a:r>
        </a:p>
        <a:p>
          <a:r>
            <a:rPr lang="fr-FR" sz="2800" kern="1200" dirty="0">
              <a:latin typeface="Arial" panose="020B0604020202020204" pitchFamily="34" charset="0"/>
              <a:cs typeface="Arial" panose="020B0604020202020204" pitchFamily="34" charset="0"/>
            </a:rPr>
            <a:t>	- 2</a:t>
          </a:r>
          <a:r>
            <a:rPr lang="fr-FR" sz="2800" kern="1200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rPr>
            <a:t>8</a:t>
          </a:r>
          <a:r>
            <a:rPr lang="fr-FR" sz="2800" kern="1200" dirty="0">
              <a:latin typeface="Arial" panose="020B0604020202020204" pitchFamily="34" charset="0"/>
              <a:cs typeface="Arial" panose="020B0604020202020204" pitchFamily="34" charset="0"/>
            </a:rPr>
            <a:t>182 – Amortissement du matériel de transport</a:t>
          </a:r>
        </a:p>
        <a:p>
          <a:endParaRPr lang="fr-FR" sz="28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r>
            <a:rPr lang="fr-FR" sz="2800" kern="1200" dirty="0">
              <a:latin typeface="Arial" panose="020B0604020202020204" pitchFamily="34" charset="0"/>
              <a:cs typeface="Arial" panose="020B0604020202020204" pitchFamily="34" charset="0"/>
            </a:rPr>
            <a:t>9 (2eme position) =&gt; dépréciation</a:t>
          </a:r>
        </a:p>
        <a:p>
          <a:r>
            <a:rPr lang="fr-FR" sz="2800" kern="1200" dirty="0">
              <a:latin typeface="Arial" panose="020B0604020202020204" pitchFamily="34" charset="0"/>
              <a:cs typeface="Arial" panose="020B0604020202020204" pitchFamily="34" charset="0"/>
            </a:rPr>
            <a:t>- 211 – Terrain</a:t>
          </a:r>
        </a:p>
        <a:p>
          <a:r>
            <a:rPr lang="fr-FR" sz="2800" kern="1200" dirty="0">
              <a:latin typeface="Arial" panose="020B0604020202020204" pitchFamily="34" charset="0"/>
              <a:cs typeface="Arial" panose="020B0604020202020204" pitchFamily="34" charset="0"/>
            </a:rPr>
            <a:t>- 2</a:t>
          </a:r>
          <a:r>
            <a:rPr lang="fr-FR" sz="2800" kern="1200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rPr>
            <a:t>9</a:t>
          </a:r>
          <a:r>
            <a:rPr lang="fr-FR" sz="2800" kern="1200" dirty="0">
              <a:latin typeface="Arial" panose="020B0604020202020204" pitchFamily="34" charset="0"/>
              <a:cs typeface="Arial" panose="020B0604020202020204" pitchFamily="34" charset="0"/>
            </a:rPr>
            <a:t>11 – dépréciation du terrain</a:t>
          </a:r>
          <a:endParaRPr lang="fr-FR" sz="2000" kern="1200" dirty="0"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C2C3550A-F1DD-4C8C-85ED-D96508225E30}" type="parTrans" cxnId="{E06F28F0-0187-4070-8490-6E6A76C82FBA}">
      <dgm:prSet/>
      <dgm:spPr/>
      <dgm:t>
        <a:bodyPr/>
        <a:lstStyle/>
        <a:p>
          <a:endParaRPr lang="fr-FR"/>
        </a:p>
      </dgm:t>
    </dgm:pt>
    <dgm:pt modelId="{19CBF419-9E92-4D5F-A934-D88F01C9054D}" type="sibTrans" cxnId="{E06F28F0-0187-4070-8490-6E6A76C82FBA}">
      <dgm:prSet/>
      <dgm:spPr/>
      <dgm:t>
        <a:bodyPr/>
        <a:lstStyle/>
        <a:p>
          <a:endParaRPr lang="fr-FR"/>
        </a:p>
      </dgm:t>
    </dgm:pt>
    <dgm:pt modelId="{DE71EF63-F0A2-4E1F-9EFF-6CF466F74FE1}" type="pres">
      <dgm:prSet presAssocID="{787C544D-3023-4F60-B53C-768C848DCD54}" presName="outerComposite" presStyleCnt="0">
        <dgm:presLayoutVars>
          <dgm:chMax val="5"/>
          <dgm:dir/>
          <dgm:resizeHandles val="exact"/>
        </dgm:presLayoutVars>
      </dgm:prSet>
      <dgm:spPr/>
    </dgm:pt>
    <dgm:pt modelId="{B64CC261-BD97-4DFF-9209-B3228AAB22D4}" type="pres">
      <dgm:prSet presAssocID="{787C544D-3023-4F60-B53C-768C848DCD54}" presName="dummyMaxCanvas" presStyleCnt="0">
        <dgm:presLayoutVars/>
      </dgm:prSet>
      <dgm:spPr/>
    </dgm:pt>
    <dgm:pt modelId="{67D84562-8FA5-49BC-8F2E-C4E3ABC0F302}" type="pres">
      <dgm:prSet presAssocID="{787C544D-3023-4F60-B53C-768C848DCD54}" presName="OneNode_1" presStyleLbl="node1" presStyleIdx="0" presStyleCnt="1" custScaleY="200000">
        <dgm:presLayoutVars>
          <dgm:bulletEnabled val="1"/>
        </dgm:presLayoutVars>
      </dgm:prSet>
      <dgm:spPr/>
    </dgm:pt>
  </dgm:ptLst>
  <dgm:cxnLst>
    <dgm:cxn modelId="{CE416505-0FAC-4AAF-AC05-B853CC37A930}" type="presOf" srcId="{787C544D-3023-4F60-B53C-768C848DCD54}" destId="{DE71EF63-F0A2-4E1F-9EFF-6CF466F74FE1}" srcOrd="0" destOrd="0" presId="urn:microsoft.com/office/officeart/2005/8/layout/vProcess5"/>
    <dgm:cxn modelId="{CBB5A1BD-36F8-468B-A910-A548017FF346}" type="presOf" srcId="{7246902C-F380-4244-A491-559EECE887E9}" destId="{67D84562-8FA5-49BC-8F2E-C4E3ABC0F302}" srcOrd="0" destOrd="0" presId="urn:microsoft.com/office/officeart/2005/8/layout/vProcess5"/>
    <dgm:cxn modelId="{E06F28F0-0187-4070-8490-6E6A76C82FBA}" srcId="{787C544D-3023-4F60-B53C-768C848DCD54}" destId="{7246902C-F380-4244-A491-559EECE887E9}" srcOrd="0" destOrd="0" parTransId="{C2C3550A-F1DD-4C8C-85ED-D96508225E30}" sibTransId="{19CBF419-9E92-4D5F-A934-D88F01C9054D}"/>
    <dgm:cxn modelId="{9F5EF7D9-55FA-4E61-9B83-5BE7CAEA6159}" type="presParOf" srcId="{DE71EF63-F0A2-4E1F-9EFF-6CF466F74FE1}" destId="{B64CC261-BD97-4DFF-9209-B3228AAB22D4}" srcOrd="0" destOrd="0" presId="urn:microsoft.com/office/officeart/2005/8/layout/vProcess5"/>
    <dgm:cxn modelId="{2024F099-8755-43F5-86F0-0F2B1D2DD014}" type="presParOf" srcId="{DE71EF63-F0A2-4E1F-9EFF-6CF466F74FE1}" destId="{67D84562-8FA5-49BC-8F2E-C4E3ABC0F302}" srcOrd="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787C544D-3023-4F60-B53C-768C848DCD54}" type="doc">
      <dgm:prSet loTypeId="urn:microsoft.com/office/officeart/2005/8/layout/vProcess5" loCatId="process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7246902C-F380-4244-A491-559EECE887E9}">
      <dgm:prSet phldrT="[Texte]" custT="1"/>
      <dgm:spPr/>
      <dgm:t>
        <a:bodyPr/>
        <a:lstStyle/>
        <a:p>
          <a:pPr algn="l"/>
          <a:r>
            <a:rPr lang="fr-FR" sz="2800" kern="1200" dirty="0">
              <a:latin typeface="Arial" panose="020B0604020202020204" pitchFamily="34" charset="0"/>
              <a:cs typeface="Arial" panose="020B0604020202020204" pitchFamily="34" charset="0"/>
            </a:rPr>
            <a:t>31 - Matières premières (et fournitures)</a:t>
          </a:r>
        </a:p>
        <a:p>
          <a:pPr algn="l"/>
          <a:r>
            <a:rPr lang="fr-FR" sz="2800" kern="1200" dirty="0">
              <a:latin typeface="Arial" panose="020B0604020202020204" pitchFamily="34" charset="0"/>
              <a:cs typeface="Arial" panose="020B0604020202020204" pitchFamily="34" charset="0"/>
            </a:rPr>
            <a:t>32 - Autres approvisionnements</a:t>
          </a:r>
        </a:p>
        <a:p>
          <a:pPr algn="l"/>
          <a:r>
            <a:rPr lang="fr-FR" sz="2800" kern="1200" dirty="0">
              <a:latin typeface="Arial" panose="020B0604020202020204" pitchFamily="34" charset="0"/>
              <a:ea typeface="+mn-ea"/>
              <a:cs typeface="Arial" panose="020B0604020202020204" pitchFamily="34" charset="0"/>
            </a:rPr>
            <a:t>33 - En-cours de production de biens</a:t>
          </a:r>
        </a:p>
        <a:p>
          <a:pPr algn="l"/>
          <a:r>
            <a:rPr lang="fr-FR" sz="2800" kern="1200" dirty="0">
              <a:latin typeface="Arial" panose="020B0604020202020204" pitchFamily="34" charset="0"/>
              <a:ea typeface="+mn-ea"/>
              <a:cs typeface="Arial" panose="020B0604020202020204" pitchFamily="34" charset="0"/>
            </a:rPr>
            <a:t>34 - En-cours de production de services</a:t>
          </a:r>
        </a:p>
        <a:p>
          <a:r>
            <a:rPr lang="fr-FR" sz="2800" kern="1200" dirty="0">
              <a:latin typeface="Arial" panose="020B0604020202020204" pitchFamily="34" charset="0"/>
              <a:ea typeface="+mn-ea"/>
              <a:cs typeface="Arial" panose="020B0604020202020204" pitchFamily="34" charset="0"/>
            </a:rPr>
            <a:t>35 - Stocks de produits</a:t>
          </a:r>
        </a:p>
        <a:p>
          <a:r>
            <a:rPr lang="fr-FR" sz="2800" kern="1200" dirty="0">
              <a:latin typeface="Arial" panose="020B0604020202020204" pitchFamily="34" charset="0"/>
              <a:ea typeface="+mn-ea"/>
              <a:cs typeface="Arial" panose="020B0604020202020204" pitchFamily="34" charset="0"/>
            </a:rPr>
            <a:t>37 - Stocks de marchandises</a:t>
          </a:r>
          <a:endParaRPr lang="fr-FR" sz="2000" kern="1200" dirty="0"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C2C3550A-F1DD-4C8C-85ED-D96508225E30}" type="parTrans" cxnId="{E06F28F0-0187-4070-8490-6E6A76C82FBA}">
      <dgm:prSet/>
      <dgm:spPr/>
      <dgm:t>
        <a:bodyPr/>
        <a:lstStyle/>
        <a:p>
          <a:endParaRPr lang="fr-FR"/>
        </a:p>
      </dgm:t>
    </dgm:pt>
    <dgm:pt modelId="{19CBF419-9E92-4D5F-A934-D88F01C9054D}" type="sibTrans" cxnId="{E06F28F0-0187-4070-8490-6E6A76C82FBA}">
      <dgm:prSet/>
      <dgm:spPr/>
      <dgm:t>
        <a:bodyPr/>
        <a:lstStyle/>
        <a:p>
          <a:endParaRPr lang="fr-FR"/>
        </a:p>
      </dgm:t>
    </dgm:pt>
    <dgm:pt modelId="{DE71EF63-F0A2-4E1F-9EFF-6CF466F74FE1}" type="pres">
      <dgm:prSet presAssocID="{787C544D-3023-4F60-B53C-768C848DCD54}" presName="outerComposite" presStyleCnt="0">
        <dgm:presLayoutVars>
          <dgm:chMax val="5"/>
          <dgm:dir/>
          <dgm:resizeHandles val="exact"/>
        </dgm:presLayoutVars>
      </dgm:prSet>
      <dgm:spPr/>
    </dgm:pt>
    <dgm:pt modelId="{B64CC261-BD97-4DFF-9209-B3228AAB22D4}" type="pres">
      <dgm:prSet presAssocID="{787C544D-3023-4F60-B53C-768C848DCD54}" presName="dummyMaxCanvas" presStyleCnt="0">
        <dgm:presLayoutVars/>
      </dgm:prSet>
      <dgm:spPr/>
    </dgm:pt>
    <dgm:pt modelId="{67D84562-8FA5-49BC-8F2E-C4E3ABC0F302}" type="pres">
      <dgm:prSet presAssocID="{787C544D-3023-4F60-B53C-768C848DCD54}" presName="OneNode_1" presStyleLbl="node1" presStyleIdx="0" presStyleCnt="1" custScaleY="200000">
        <dgm:presLayoutVars>
          <dgm:bulletEnabled val="1"/>
        </dgm:presLayoutVars>
      </dgm:prSet>
      <dgm:spPr/>
    </dgm:pt>
  </dgm:ptLst>
  <dgm:cxnLst>
    <dgm:cxn modelId="{CE416505-0FAC-4AAF-AC05-B853CC37A930}" type="presOf" srcId="{787C544D-3023-4F60-B53C-768C848DCD54}" destId="{DE71EF63-F0A2-4E1F-9EFF-6CF466F74FE1}" srcOrd="0" destOrd="0" presId="urn:microsoft.com/office/officeart/2005/8/layout/vProcess5"/>
    <dgm:cxn modelId="{CBB5A1BD-36F8-468B-A910-A548017FF346}" type="presOf" srcId="{7246902C-F380-4244-A491-559EECE887E9}" destId="{67D84562-8FA5-49BC-8F2E-C4E3ABC0F302}" srcOrd="0" destOrd="0" presId="urn:microsoft.com/office/officeart/2005/8/layout/vProcess5"/>
    <dgm:cxn modelId="{E06F28F0-0187-4070-8490-6E6A76C82FBA}" srcId="{787C544D-3023-4F60-B53C-768C848DCD54}" destId="{7246902C-F380-4244-A491-559EECE887E9}" srcOrd="0" destOrd="0" parTransId="{C2C3550A-F1DD-4C8C-85ED-D96508225E30}" sibTransId="{19CBF419-9E92-4D5F-A934-D88F01C9054D}"/>
    <dgm:cxn modelId="{9F5EF7D9-55FA-4E61-9B83-5BE7CAEA6159}" type="presParOf" srcId="{DE71EF63-F0A2-4E1F-9EFF-6CF466F74FE1}" destId="{B64CC261-BD97-4DFF-9209-B3228AAB22D4}" srcOrd="0" destOrd="0" presId="urn:microsoft.com/office/officeart/2005/8/layout/vProcess5"/>
    <dgm:cxn modelId="{2024F099-8755-43F5-86F0-0F2B1D2DD014}" type="presParOf" srcId="{DE71EF63-F0A2-4E1F-9EFF-6CF466F74FE1}" destId="{67D84562-8FA5-49BC-8F2E-C4E3ABC0F302}" srcOrd="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787C544D-3023-4F60-B53C-768C848DCD54}" type="doc">
      <dgm:prSet loTypeId="urn:microsoft.com/office/officeart/2005/8/layout/vProcess5" loCatId="process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7246902C-F380-4244-A491-559EECE887E9}">
      <dgm:prSet phldrT="[Texte]" custT="1"/>
      <dgm:spPr/>
      <dgm:t>
        <a:bodyPr/>
        <a:lstStyle/>
        <a:p>
          <a:pPr algn="l"/>
          <a:r>
            <a:rPr lang="fr-FR" sz="2800" b="1" u="none" kern="1200" dirty="0"/>
            <a:t>4091 - </a:t>
          </a:r>
          <a:r>
            <a:rPr lang="x-none" sz="2800" b="1" u="none" kern="1200" dirty="0"/>
            <a:t>Les avances et acomptes versés sur commandes </a:t>
          </a:r>
          <a:endParaRPr lang="fr-FR" sz="2800" b="1" u="none" kern="1200" dirty="0"/>
        </a:p>
        <a:p>
          <a:pPr algn="l"/>
          <a:r>
            <a:rPr lang="fr-FR" sz="2800" b="1" u="none" kern="1200" dirty="0"/>
            <a:t>411 - </a:t>
          </a:r>
          <a:r>
            <a:rPr lang="x-none" sz="2800" b="1" u="none" kern="1200" dirty="0"/>
            <a:t>Les créances clients et comptes rattachés </a:t>
          </a:r>
          <a:endParaRPr lang="fr-FR" sz="2800" b="1" u="none" kern="1200" dirty="0"/>
        </a:p>
        <a:p>
          <a:pPr algn="l"/>
          <a:r>
            <a:rPr lang="fr-FR" sz="2400" u="none" kern="1200" dirty="0"/>
            <a:t>D’un point de vue comptable, un client est une personne qui n’a pas encore réglé la totalité de sa facture.</a:t>
          </a:r>
        </a:p>
        <a:p>
          <a:pPr algn="l"/>
          <a:r>
            <a:rPr lang="fr-FR" sz="2800" b="1" u="none" kern="1200" dirty="0"/>
            <a:t>42 – Personnel</a:t>
          </a:r>
        </a:p>
        <a:p>
          <a:pPr algn="l"/>
          <a:r>
            <a:rPr lang="fr-FR" sz="2800" b="1" u="none" kern="1200" dirty="0"/>
            <a:t>43 – Organismes sociaux</a:t>
          </a:r>
        </a:p>
        <a:p>
          <a:pPr algn="l"/>
          <a:r>
            <a:rPr lang="fr-FR" sz="2800" b="1" u="none" kern="1200" dirty="0"/>
            <a:t>44 – Etat dont TVA</a:t>
          </a:r>
        </a:p>
        <a:p>
          <a:pPr algn="l"/>
          <a:r>
            <a:rPr lang="fr-FR" sz="2800" b="1" u="none" kern="1200" dirty="0"/>
            <a:t>45 – 46 - </a:t>
          </a:r>
          <a:r>
            <a:rPr lang="x-none" sz="2800" b="1" u="none" kern="1200" dirty="0"/>
            <a:t>Autres créances</a:t>
          </a:r>
          <a:r>
            <a:rPr lang="fr-FR" sz="2800" b="1" u="none" kern="1200" dirty="0"/>
            <a:t>  =&gt;  </a:t>
          </a:r>
          <a:r>
            <a:rPr lang="fr-FR" sz="2800" b="1" u="none" kern="1200" dirty="0">
              <a:highlight>
                <a:srgbClr val="FF0000"/>
              </a:highlight>
              <a:latin typeface="Arial" panose="020B0604020202020204" pitchFamily="34" charset="0"/>
              <a:ea typeface="+mn-ea"/>
              <a:cs typeface="Arial" panose="020B0604020202020204" pitchFamily="34" charset="0"/>
            </a:rPr>
            <a:t>471 - ?</a:t>
          </a:r>
          <a:endParaRPr lang="fr-FR" sz="2000" u="none" kern="1200" dirty="0">
            <a:highlight>
              <a:srgbClr val="FF0000"/>
            </a:highlight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C2C3550A-F1DD-4C8C-85ED-D96508225E30}" type="parTrans" cxnId="{E06F28F0-0187-4070-8490-6E6A76C82FBA}">
      <dgm:prSet/>
      <dgm:spPr/>
      <dgm:t>
        <a:bodyPr/>
        <a:lstStyle/>
        <a:p>
          <a:endParaRPr lang="fr-FR"/>
        </a:p>
      </dgm:t>
    </dgm:pt>
    <dgm:pt modelId="{19CBF419-9E92-4D5F-A934-D88F01C9054D}" type="sibTrans" cxnId="{E06F28F0-0187-4070-8490-6E6A76C82FBA}">
      <dgm:prSet/>
      <dgm:spPr/>
      <dgm:t>
        <a:bodyPr/>
        <a:lstStyle/>
        <a:p>
          <a:endParaRPr lang="fr-FR"/>
        </a:p>
      </dgm:t>
    </dgm:pt>
    <dgm:pt modelId="{DE71EF63-F0A2-4E1F-9EFF-6CF466F74FE1}" type="pres">
      <dgm:prSet presAssocID="{787C544D-3023-4F60-B53C-768C848DCD54}" presName="outerComposite" presStyleCnt="0">
        <dgm:presLayoutVars>
          <dgm:chMax val="5"/>
          <dgm:dir/>
          <dgm:resizeHandles val="exact"/>
        </dgm:presLayoutVars>
      </dgm:prSet>
      <dgm:spPr/>
    </dgm:pt>
    <dgm:pt modelId="{B64CC261-BD97-4DFF-9209-B3228AAB22D4}" type="pres">
      <dgm:prSet presAssocID="{787C544D-3023-4F60-B53C-768C848DCD54}" presName="dummyMaxCanvas" presStyleCnt="0">
        <dgm:presLayoutVars/>
      </dgm:prSet>
      <dgm:spPr/>
    </dgm:pt>
    <dgm:pt modelId="{67D84562-8FA5-49BC-8F2E-C4E3ABC0F302}" type="pres">
      <dgm:prSet presAssocID="{787C544D-3023-4F60-B53C-768C848DCD54}" presName="OneNode_1" presStyleLbl="node1" presStyleIdx="0" presStyleCnt="1" custScaleY="200000">
        <dgm:presLayoutVars>
          <dgm:bulletEnabled val="1"/>
        </dgm:presLayoutVars>
      </dgm:prSet>
      <dgm:spPr/>
    </dgm:pt>
  </dgm:ptLst>
  <dgm:cxnLst>
    <dgm:cxn modelId="{CE416505-0FAC-4AAF-AC05-B853CC37A930}" type="presOf" srcId="{787C544D-3023-4F60-B53C-768C848DCD54}" destId="{DE71EF63-F0A2-4E1F-9EFF-6CF466F74FE1}" srcOrd="0" destOrd="0" presId="urn:microsoft.com/office/officeart/2005/8/layout/vProcess5"/>
    <dgm:cxn modelId="{CBB5A1BD-36F8-468B-A910-A548017FF346}" type="presOf" srcId="{7246902C-F380-4244-A491-559EECE887E9}" destId="{67D84562-8FA5-49BC-8F2E-C4E3ABC0F302}" srcOrd="0" destOrd="0" presId="urn:microsoft.com/office/officeart/2005/8/layout/vProcess5"/>
    <dgm:cxn modelId="{E06F28F0-0187-4070-8490-6E6A76C82FBA}" srcId="{787C544D-3023-4F60-B53C-768C848DCD54}" destId="{7246902C-F380-4244-A491-559EECE887E9}" srcOrd="0" destOrd="0" parTransId="{C2C3550A-F1DD-4C8C-85ED-D96508225E30}" sibTransId="{19CBF419-9E92-4D5F-A934-D88F01C9054D}"/>
    <dgm:cxn modelId="{9F5EF7D9-55FA-4E61-9B83-5BE7CAEA6159}" type="presParOf" srcId="{DE71EF63-F0A2-4E1F-9EFF-6CF466F74FE1}" destId="{B64CC261-BD97-4DFF-9209-B3228AAB22D4}" srcOrd="0" destOrd="0" presId="urn:microsoft.com/office/officeart/2005/8/layout/vProcess5"/>
    <dgm:cxn modelId="{2024F099-8755-43F5-86F0-0F2B1D2DD014}" type="presParOf" srcId="{DE71EF63-F0A2-4E1F-9EFF-6CF466F74FE1}" destId="{67D84562-8FA5-49BC-8F2E-C4E3ABC0F302}" srcOrd="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787C544D-3023-4F60-B53C-768C848DCD54}" type="doc">
      <dgm:prSet loTypeId="urn:microsoft.com/office/officeart/2005/8/layout/vProcess5" loCatId="process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7246902C-F380-4244-A491-559EECE887E9}">
      <dgm:prSet phldrT="[Texte]" custT="1"/>
      <dgm:spPr/>
      <dgm:t>
        <a:bodyPr/>
        <a:lstStyle/>
        <a:p>
          <a:pPr algn="l"/>
          <a:r>
            <a:rPr lang="fr-FR" sz="2800" b="1" u="none" kern="1200" dirty="0"/>
            <a:t>50 - VMP</a:t>
          </a:r>
          <a:r>
            <a:rPr lang="x-none" sz="2800" b="1" u="none" kern="1200" dirty="0"/>
            <a:t> </a:t>
          </a:r>
          <a:endParaRPr lang="fr-FR" sz="2800" b="1" u="none" kern="1200" dirty="0"/>
        </a:p>
        <a:p>
          <a:pPr algn="l"/>
          <a:r>
            <a:rPr lang="fr-FR" sz="2800" b="1" u="none" kern="1200" dirty="0"/>
            <a:t>51 - Banques, établissements financiers et assimilés</a:t>
          </a:r>
        </a:p>
        <a:p>
          <a:pPr algn="l"/>
          <a:r>
            <a:rPr lang="fr-FR" sz="2800" b="1" u="none" kern="1200" dirty="0"/>
            <a:t>53 – Caisse</a:t>
          </a:r>
        </a:p>
        <a:p>
          <a:pPr algn="l"/>
          <a:r>
            <a:rPr lang="fr-FR" sz="2800" b="1" u="none" kern="1200" dirty="0"/>
            <a:t>58 – Virements internes</a:t>
          </a:r>
        </a:p>
      </dgm:t>
    </dgm:pt>
    <dgm:pt modelId="{C2C3550A-F1DD-4C8C-85ED-D96508225E30}" type="parTrans" cxnId="{E06F28F0-0187-4070-8490-6E6A76C82FBA}">
      <dgm:prSet/>
      <dgm:spPr/>
      <dgm:t>
        <a:bodyPr/>
        <a:lstStyle/>
        <a:p>
          <a:endParaRPr lang="fr-FR"/>
        </a:p>
      </dgm:t>
    </dgm:pt>
    <dgm:pt modelId="{19CBF419-9E92-4D5F-A934-D88F01C9054D}" type="sibTrans" cxnId="{E06F28F0-0187-4070-8490-6E6A76C82FBA}">
      <dgm:prSet/>
      <dgm:spPr/>
      <dgm:t>
        <a:bodyPr/>
        <a:lstStyle/>
        <a:p>
          <a:endParaRPr lang="fr-FR"/>
        </a:p>
      </dgm:t>
    </dgm:pt>
    <dgm:pt modelId="{DE71EF63-F0A2-4E1F-9EFF-6CF466F74FE1}" type="pres">
      <dgm:prSet presAssocID="{787C544D-3023-4F60-B53C-768C848DCD54}" presName="outerComposite" presStyleCnt="0">
        <dgm:presLayoutVars>
          <dgm:chMax val="5"/>
          <dgm:dir/>
          <dgm:resizeHandles val="exact"/>
        </dgm:presLayoutVars>
      </dgm:prSet>
      <dgm:spPr/>
    </dgm:pt>
    <dgm:pt modelId="{B64CC261-BD97-4DFF-9209-B3228AAB22D4}" type="pres">
      <dgm:prSet presAssocID="{787C544D-3023-4F60-B53C-768C848DCD54}" presName="dummyMaxCanvas" presStyleCnt="0">
        <dgm:presLayoutVars/>
      </dgm:prSet>
      <dgm:spPr/>
    </dgm:pt>
    <dgm:pt modelId="{67D84562-8FA5-49BC-8F2E-C4E3ABC0F302}" type="pres">
      <dgm:prSet presAssocID="{787C544D-3023-4F60-B53C-768C848DCD54}" presName="OneNode_1" presStyleLbl="node1" presStyleIdx="0" presStyleCnt="1" custScaleY="200000">
        <dgm:presLayoutVars>
          <dgm:bulletEnabled val="1"/>
        </dgm:presLayoutVars>
      </dgm:prSet>
      <dgm:spPr/>
    </dgm:pt>
  </dgm:ptLst>
  <dgm:cxnLst>
    <dgm:cxn modelId="{CE416505-0FAC-4AAF-AC05-B853CC37A930}" type="presOf" srcId="{787C544D-3023-4F60-B53C-768C848DCD54}" destId="{DE71EF63-F0A2-4E1F-9EFF-6CF466F74FE1}" srcOrd="0" destOrd="0" presId="urn:microsoft.com/office/officeart/2005/8/layout/vProcess5"/>
    <dgm:cxn modelId="{CBB5A1BD-36F8-468B-A910-A548017FF346}" type="presOf" srcId="{7246902C-F380-4244-A491-559EECE887E9}" destId="{67D84562-8FA5-49BC-8F2E-C4E3ABC0F302}" srcOrd="0" destOrd="0" presId="urn:microsoft.com/office/officeart/2005/8/layout/vProcess5"/>
    <dgm:cxn modelId="{E06F28F0-0187-4070-8490-6E6A76C82FBA}" srcId="{787C544D-3023-4F60-B53C-768C848DCD54}" destId="{7246902C-F380-4244-A491-559EECE887E9}" srcOrd="0" destOrd="0" parTransId="{C2C3550A-F1DD-4C8C-85ED-D96508225E30}" sibTransId="{19CBF419-9E92-4D5F-A934-D88F01C9054D}"/>
    <dgm:cxn modelId="{9F5EF7D9-55FA-4E61-9B83-5BE7CAEA6159}" type="presParOf" srcId="{DE71EF63-F0A2-4E1F-9EFF-6CF466F74FE1}" destId="{B64CC261-BD97-4DFF-9209-B3228AAB22D4}" srcOrd="0" destOrd="0" presId="urn:microsoft.com/office/officeart/2005/8/layout/vProcess5"/>
    <dgm:cxn modelId="{2024F099-8755-43F5-86F0-0F2B1D2DD014}" type="presParOf" srcId="{DE71EF63-F0A2-4E1F-9EFF-6CF466F74FE1}" destId="{67D84562-8FA5-49BC-8F2E-C4E3ABC0F302}" srcOrd="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787C544D-3023-4F60-B53C-768C848DCD54}" type="doc">
      <dgm:prSet loTypeId="urn:microsoft.com/office/officeart/2005/8/layout/vProcess5" loCatId="process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7246902C-F380-4244-A491-559EECE887E9}">
      <dgm:prSet phldrT="[Texte]" custT="1"/>
      <dgm:spPr/>
      <dgm:t>
        <a:bodyPr/>
        <a:lstStyle/>
        <a:p>
          <a:r>
            <a:rPr lang="fr-FR" sz="2800" b="1" u="none" kern="1200" dirty="0"/>
            <a:t>101 – Capital</a:t>
          </a:r>
        </a:p>
        <a:p>
          <a:r>
            <a:rPr lang="fr-FR" sz="2800" b="1" u="none" kern="1200" dirty="0"/>
            <a:t>106 – Réserve légale</a:t>
          </a:r>
        </a:p>
        <a:p>
          <a:r>
            <a:rPr lang="fr-FR" sz="2800" b="1" u="none" kern="1200" dirty="0"/>
            <a:t>1063 – Réserves statutaires</a:t>
          </a:r>
          <a:r>
            <a:rPr lang="x-none" sz="2800" b="1" u="none" kern="1200" dirty="0"/>
            <a:t> </a:t>
          </a:r>
          <a:endParaRPr lang="fr-FR" sz="2800" b="1" u="none" kern="1200" dirty="0"/>
        </a:p>
        <a:p>
          <a:r>
            <a:rPr lang="fr-FR" sz="2800" b="1" u="none" kern="1200" dirty="0"/>
            <a:t>1068 – Autres réserves</a:t>
          </a:r>
          <a:r>
            <a:rPr lang="x-none" sz="2800" b="1" u="none" kern="1200" dirty="0"/>
            <a:t> </a:t>
          </a:r>
          <a:endParaRPr lang="fr-FR" sz="2800" b="1" u="none" kern="1200" dirty="0"/>
        </a:p>
        <a:p>
          <a:pPr algn="l"/>
          <a:r>
            <a:rPr lang="fr-FR" sz="2800" b="1" u="none" kern="1200" dirty="0"/>
            <a:t>108 – compte de l’exploitant</a:t>
          </a:r>
        </a:p>
        <a:p>
          <a:pPr algn="l"/>
          <a:r>
            <a:rPr lang="fr-FR" sz="2800" b="1" u="none" kern="1200" dirty="0"/>
            <a:t>110/119 – Report à nouveau</a:t>
          </a:r>
        </a:p>
        <a:p>
          <a:pPr algn="l"/>
          <a:r>
            <a:rPr lang="fr-FR" sz="2800" b="1" u="none" kern="1200" dirty="0"/>
            <a:t>120 - Résultat</a:t>
          </a:r>
        </a:p>
      </dgm:t>
    </dgm:pt>
    <dgm:pt modelId="{C2C3550A-F1DD-4C8C-85ED-D96508225E30}" type="parTrans" cxnId="{E06F28F0-0187-4070-8490-6E6A76C82FBA}">
      <dgm:prSet/>
      <dgm:spPr/>
      <dgm:t>
        <a:bodyPr/>
        <a:lstStyle/>
        <a:p>
          <a:endParaRPr lang="fr-FR"/>
        </a:p>
      </dgm:t>
    </dgm:pt>
    <dgm:pt modelId="{19CBF419-9E92-4D5F-A934-D88F01C9054D}" type="sibTrans" cxnId="{E06F28F0-0187-4070-8490-6E6A76C82FBA}">
      <dgm:prSet/>
      <dgm:spPr/>
      <dgm:t>
        <a:bodyPr/>
        <a:lstStyle/>
        <a:p>
          <a:endParaRPr lang="fr-FR"/>
        </a:p>
      </dgm:t>
    </dgm:pt>
    <dgm:pt modelId="{DE71EF63-F0A2-4E1F-9EFF-6CF466F74FE1}" type="pres">
      <dgm:prSet presAssocID="{787C544D-3023-4F60-B53C-768C848DCD54}" presName="outerComposite" presStyleCnt="0">
        <dgm:presLayoutVars>
          <dgm:chMax val="5"/>
          <dgm:dir/>
          <dgm:resizeHandles val="exact"/>
        </dgm:presLayoutVars>
      </dgm:prSet>
      <dgm:spPr/>
    </dgm:pt>
    <dgm:pt modelId="{B64CC261-BD97-4DFF-9209-B3228AAB22D4}" type="pres">
      <dgm:prSet presAssocID="{787C544D-3023-4F60-B53C-768C848DCD54}" presName="dummyMaxCanvas" presStyleCnt="0">
        <dgm:presLayoutVars/>
      </dgm:prSet>
      <dgm:spPr/>
    </dgm:pt>
    <dgm:pt modelId="{67D84562-8FA5-49BC-8F2E-C4E3ABC0F302}" type="pres">
      <dgm:prSet presAssocID="{787C544D-3023-4F60-B53C-768C848DCD54}" presName="OneNode_1" presStyleLbl="node1" presStyleIdx="0" presStyleCnt="1" custScaleY="200000">
        <dgm:presLayoutVars>
          <dgm:bulletEnabled val="1"/>
        </dgm:presLayoutVars>
      </dgm:prSet>
      <dgm:spPr/>
    </dgm:pt>
  </dgm:ptLst>
  <dgm:cxnLst>
    <dgm:cxn modelId="{CE416505-0FAC-4AAF-AC05-B853CC37A930}" type="presOf" srcId="{787C544D-3023-4F60-B53C-768C848DCD54}" destId="{DE71EF63-F0A2-4E1F-9EFF-6CF466F74FE1}" srcOrd="0" destOrd="0" presId="urn:microsoft.com/office/officeart/2005/8/layout/vProcess5"/>
    <dgm:cxn modelId="{CBB5A1BD-36F8-468B-A910-A548017FF346}" type="presOf" srcId="{7246902C-F380-4244-A491-559EECE887E9}" destId="{67D84562-8FA5-49BC-8F2E-C4E3ABC0F302}" srcOrd="0" destOrd="0" presId="urn:microsoft.com/office/officeart/2005/8/layout/vProcess5"/>
    <dgm:cxn modelId="{E06F28F0-0187-4070-8490-6E6A76C82FBA}" srcId="{787C544D-3023-4F60-B53C-768C848DCD54}" destId="{7246902C-F380-4244-A491-559EECE887E9}" srcOrd="0" destOrd="0" parTransId="{C2C3550A-F1DD-4C8C-85ED-D96508225E30}" sibTransId="{19CBF419-9E92-4D5F-A934-D88F01C9054D}"/>
    <dgm:cxn modelId="{9F5EF7D9-55FA-4E61-9B83-5BE7CAEA6159}" type="presParOf" srcId="{DE71EF63-F0A2-4E1F-9EFF-6CF466F74FE1}" destId="{B64CC261-BD97-4DFF-9209-B3228AAB22D4}" srcOrd="0" destOrd="0" presId="urn:microsoft.com/office/officeart/2005/8/layout/vProcess5"/>
    <dgm:cxn modelId="{2024F099-8755-43F5-86F0-0F2B1D2DD014}" type="presParOf" srcId="{DE71EF63-F0A2-4E1F-9EFF-6CF466F74FE1}" destId="{67D84562-8FA5-49BC-8F2E-C4E3ABC0F302}" srcOrd="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787C544D-3023-4F60-B53C-768C848DCD54}" type="doc">
      <dgm:prSet loTypeId="urn:microsoft.com/office/officeart/2005/8/layout/vProcess5" loCatId="process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7246902C-F380-4244-A491-559EECE887E9}">
      <dgm:prSet phldrT="[Texte]" custT="1"/>
      <dgm:spPr/>
      <dgm:t>
        <a:bodyPr/>
        <a:lstStyle/>
        <a:p>
          <a:pPr marL="0"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b="1" u="none" kern="1200" dirty="0"/>
            <a:t>131 – Subventions d’équipement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fr-FR" sz="2800" b="1" u="none" kern="1200" dirty="0"/>
            <a:t>14 - Provisions réglementées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fr-FR" sz="2800" b="1" u="none" kern="1200" dirty="0"/>
            <a:t>	Dont 145 - Amortissements dérogatoires</a:t>
          </a:r>
        </a:p>
        <a:p>
          <a:pPr marL="0"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b="1" u="none" kern="1200" dirty="0"/>
            <a:t>15 – Provisions pour risques et charges</a:t>
          </a:r>
        </a:p>
      </dgm:t>
    </dgm:pt>
    <dgm:pt modelId="{C2C3550A-F1DD-4C8C-85ED-D96508225E30}" type="parTrans" cxnId="{E06F28F0-0187-4070-8490-6E6A76C82FBA}">
      <dgm:prSet/>
      <dgm:spPr/>
      <dgm:t>
        <a:bodyPr/>
        <a:lstStyle/>
        <a:p>
          <a:endParaRPr lang="fr-FR"/>
        </a:p>
      </dgm:t>
    </dgm:pt>
    <dgm:pt modelId="{19CBF419-9E92-4D5F-A934-D88F01C9054D}" type="sibTrans" cxnId="{E06F28F0-0187-4070-8490-6E6A76C82FBA}">
      <dgm:prSet/>
      <dgm:spPr/>
      <dgm:t>
        <a:bodyPr/>
        <a:lstStyle/>
        <a:p>
          <a:endParaRPr lang="fr-FR"/>
        </a:p>
      </dgm:t>
    </dgm:pt>
    <dgm:pt modelId="{DE71EF63-F0A2-4E1F-9EFF-6CF466F74FE1}" type="pres">
      <dgm:prSet presAssocID="{787C544D-3023-4F60-B53C-768C848DCD54}" presName="outerComposite" presStyleCnt="0">
        <dgm:presLayoutVars>
          <dgm:chMax val="5"/>
          <dgm:dir/>
          <dgm:resizeHandles val="exact"/>
        </dgm:presLayoutVars>
      </dgm:prSet>
      <dgm:spPr/>
    </dgm:pt>
    <dgm:pt modelId="{B64CC261-BD97-4DFF-9209-B3228AAB22D4}" type="pres">
      <dgm:prSet presAssocID="{787C544D-3023-4F60-B53C-768C848DCD54}" presName="dummyMaxCanvas" presStyleCnt="0">
        <dgm:presLayoutVars/>
      </dgm:prSet>
      <dgm:spPr/>
    </dgm:pt>
    <dgm:pt modelId="{67D84562-8FA5-49BC-8F2E-C4E3ABC0F302}" type="pres">
      <dgm:prSet presAssocID="{787C544D-3023-4F60-B53C-768C848DCD54}" presName="OneNode_1" presStyleLbl="node1" presStyleIdx="0" presStyleCnt="1" custScaleY="200000">
        <dgm:presLayoutVars>
          <dgm:bulletEnabled val="1"/>
        </dgm:presLayoutVars>
      </dgm:prSet>
      <dgm:spPr/>
    </dgm:pt>
  </dgm:ptLst>
  <dgm:cxnLst>
    <dgm:cxn modelId="{CE416505-0FAC-4AAF-AC05-B853CC37A930}" type="presOf" srcId="{787C544D-3023-4F60-B53C-768C848DCD54}" destId="{DE71EF63-F0A2-4E1F-9EFF-6CF466F74FE1}" srcOrd="0" destOrd="0" presId="urn:microsoft.com/office/officeart/2005/8/layout/vProcess5"/>
    <dgm:cxn modelId="{CBB5A1BD-36F8-468B-A910-A548017FF346}" type="presOf" srcId="{7246902C-F380-4244-A491-559EECE887E9}" destId="{67D84562-8FA5-49BC-8F2E-C4E3ABC0F302}" srcOrd="0" destOrd="0" presId="urn:microsoft.com/office/officeart/2005/8/layout/vProcess5"/>
    <dgm:cxn modelId="{E06F28F0-0187-4070-8490-6E6A76C82FBA}" srcId="{787C544D-3023-4F60-B53C-768C848DCD54}" destId="{7246902C-F380-4244-A491-559EECE887E9}" srcOrd="0" destOrd="0" parTransId="{C2C3550A-F1DD-4C8C-85ED-D96508225E30}" sibTransId="{19CBF419-9E92-4D5F-A934-D88F01C9054D}"/>
    <dgm:cxn modelId="{9F5EF7D9-55FA-4E61-9B83-5BE7CAEA6159}" type="presParOf" srcId="{DE71EF63-F0A2-4E1F-9EFF-6CF466F74FE1}" destId="{B64CC261-BD97-4DFF-9209-B3228AAB22D4}" srcOrd="0" destOrd="0" presId="urn:microsoft.com/office/officeart/2005/8/layout/vProcess5"/>
    <dgm:cxn modelId="{2024F099-8755-43F5-86F0-0F2B1D2DD014}" type="presParOf" srcId="{DE71EF63-F0A2-4E1F-9EFF-6CF466F74FE1}" destId="{67D84562-8FA5-49BC-8F2E-C4E3ABC0F302}" srcOrd="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787C544D-3023-4F60-B53C-768C848DCD54}" type="doc">
      <dgm:prSet loTypeId="urn:microsoft.com/office/officeart/2005/8/layout/vProcess5" loCatId="process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7246902C-F380-4244-A491-559EECE887E9}">
      <dgm:prSet phldrT="[Texte]" custT="1"/>
      <dgm:spPr/>
      <dgm:t>
        <a:bodyPr/>
        <a:lstStyle/>
        <a:p>
          <a:pPr marL="0"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b="1" u="none" kern="1200" dirty="0"/>
            <a:t>131 – Subventions d’équipement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fr-FR" sz="2800" b="1" u="none" kern="1200" dirty="0"/>
            <a:t>14 - Provisions réglementées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fr-FR" sz="2800" b="1" u="none" kern="1200" dirty="0"/>
            <a:t>	Dont 145 - Amortissements dérogatoires</a:t>
          </a:r>
        </a:p>
        <a:p>
          <a:pPr marL="0"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b="1" u="none" kern="1200" dirty="0"/>
            <a:t>15 – Provisions pour risques et charges</a:t>
          </a:r>
        </a:p>
        <a:p>
          <a:pPr marL="0"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b="1" u="none" kern="1200" dirty="0"/>
            <a:t>16 - Emprunts et dettes assimilées</a:t>
          </a:r>
        </a:p>
      </dgm:t>
    </dgm:pt>
    <dgm:pt modelId="{C2C3550A-F1DD-4C8C-85ED-D96508225E30}" type="parTrans" cxnId="{E06F28F0-0187-4070-8490-6E6A76C82FBA}">
      <dgm:prSet/>
      <dgm:spPr/>
      <dgm:t>
        <a:bodyPr/>
        <a:lstStyle/>
        <a:p>
          <a:endParaRPr lang="fr-FR"/>
        </a:p>
      </dgm:t>
    </dgm:pt>
    <dgm:pt modelId="{19CBF419-9E92-4D5F-A934-D88F01C9054D}" type="sibTrans" cxnId="{E06F28F0-0187-4070-8490-6E6A76C82FBA}">
      <dgm:prSet/>
      <dgm:spPr/>
      <dgm:t>
        <a:bodyPr/>
        <a:lstStyle/>
        <a:p>
          <a:endParaRPr lang="fr-FR"/>
        </a:p>
      </dgm:t>
    </dgm:pt>
    <dgm:pt modelId="{DE71EF63-F0A2-4E1F-9EFF-6CF466F74FE1}" type="pres">
      <dgm:prSet presAssocID="{787C544D-3023-4F60-B53C-768C848DCD54}" presName="outerComposite" presStyleCnt="0">
        <dgm:presLayoutVars>
          <dgm:chMax val="5"/>
          <dgm:dir/>
          <dgm:resizeHandles val="exact"/>
        </dgm:presLayoutVars>
      </dgm:prSet>
      <dgm:spPr/>
    </dgm:pt>
    <dgm:pt modelId="{B64CC261-BD97-4DFF-9209-B3228AAB22D4}" type="pres">
      <dgm:prSet presAssocID="{787C544D-3023-4F60-B53C-768C848DCD54}" presName="dummyMaxCanvas" presStyleCnt="0">
        <dgm:presLayoutVars/>
      </dgm:prSet>
      <dgm:spPr/>
    </dgm:pt>
    <dgm:pt modelId="{67D84562-8FA5-49BC-8F2E-C4E3ABC0F302}" type="pres">
      <dgm:prSet presAssocID="{787C544D-3023-4F60-B53C-768C848DCD54}" presName="OneNode_1" presStyleLbl="node1" presStyleIdx="0" presStyleCnt="1" custScaleY="200000">
        <dgm:presLayoutVars>
          <dgm:bulletEnabled val="1"/>
        </dgm:presLayoutVars>
      </dgm:prSet>
      <dgm:spPr/>
    </dgm:pt>
  </dgm:ptLst>
  <dgm:cxnLst>
    <dgm:cxn modelId="{CE416505-0FAC-4AAF-AC05-B853CC37A930}" type="presOf" srcId="{787C544D-3023-4F60-B53C-768C848DCD54}" destId="{DE71EF63-F0A2-4E1F-9EFF-6CF466F74FE1}" srcOrd="0" destOrd="0" presId="urn:microsoft.com/office/officeart/2005/8/layout/vProcess5"/>
    <dgm:cxn modelId="{CBB5A1BD-36F8-468B-A910-A548017FF346}" type="presOf" srcId="{7246902C-F380-4244-A491-559EECE887E9}" destId="{67D84562-8FA5-49BC-8F2E-C4E3ABC0F302}" srcOrd="0" destOrd="0" presId="urn:microsoft.com/office/officeart/2005/8/layout/vProcess5"/>
    <dgm:cxn modelId="{E06F28F0-0187-4070-8490-6E6A76C82FBA}" srcId="{787C544D-3023-4F60-B53C-768C848DCD54}" destId="{7246902C-F380-4244-A491-559EECE887E9}" srcOrd="0" destOrd="0" parTransId="{C2C3550A-F1DD-4C8C-85ED-D96508225E30}" sibTransId="{19CBF419-9E92-4D5F-A934-D88F01C9054D}"/>
    <dgm:cxn modelId="{9F5EF7D9-55FA-4E61-9B83-5BE7CAEA6159}" type="presParOf" srcId="{DE71EF63-F0A2-4E1F-9EFF-6CF466F74FE1}" destId="{B64CC261-BD97-4DFF-9209-B3228AAB22D4}" srcOrd="0" destOrd="0" presId="urn:microsoft.com/office/officeart/2005/8/layout/vProcess5"/>
    <dgm:cxn modelId="{2024F099-8755-43F5-86F0-0F2B1D2DD014}" type="presParOf" srcId="{DE71EF63-F0A2-4E1F-9EFF-6CF466F74FE1}" destId="{67D84562-8FA5-49BC-8F2E-C4E3ABC0F302}" srcOrd="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787C544D-3023-4F60-B53C-768C848DCD54}" type="doc">
      <dgm:prSet loTypeId="urn:microsoft.com/office/officeart/2005/8/layout/vProcess5" loCatId="process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7246902C-F380-4244-A491-559EECE887E9}">
      <dgm:prSet phldrT="[Texte]" custT="1"/>
      <dgm:spPr/>
      <dgm:t>
        <a:bodyPr/>
        <a:lstStyle/>
        <a:p>
          <a:pPr marL="0"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b="1" u="none" kern="1200" dirty="0"/>
            <a:t>400 - Fournisseurs et comptes rattachés</a:t>
          </a:r>
        </a:p>
        <a:p>
          <a:pPr marL="0"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b="1" u="none" kern="1200" dirty="0"/>
            <a:t>42 – Personnel</a:t>
          </a:r>
        </a:p>
        <a:p>
          <a:pPr marL="0"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800" b="1" u="none" kern="1200" dirty="0"/>
            <a:t>43 – Organismes sociaux</a:t>
          </a:r>
        </a:p>
        <a:p>
          <a:pPr marL="0"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800" b="1" u="none" kern="1200" dirty="0"/>
            <a:t>44 – Etat dont TVA</a:t>
          </a:r>
        </a:p>
        <a:p>
          <a:pPr marL="0"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800" b="1" u="none" kern="1200" dirty="0"/>
            <a:t>45 – 46 - </a:t>
          </a:r>
          <a:r>
            <a:rPr lang="x-none" sz="2800" b="1" u="none" kern="1200" dirty="0"/>
            <a:t>Autres créances</a:t>
          </a:r>
          <a:r>
            <a:rPr lang="fr-FR" sz="2800" b="1" u="none" kern="1200" dirty="0"/>
            <a:t> dont c/c associé </a:t>
          </a:r>
        </a:p>
      </dgm:t>
    </dgm:pt>
    <dgm:pt modelId="{C2C3550A-F1DD-4C8C-85ED-D96508225E30}" type="parTrans" cxnId="{E06F28F0-0187-4070-8490-6E6A76C82FBA}">
      <dgm:prSet/>
      <dgm:spPr/>
      <dgm:t>
        <a:bodyPr/>
        <a:lstStyle/>
        <a:p>
          <a:endParaRPr lang="fr-FR"/>
        </a:p>
      </dgm:t>
    </dgm:pt>
    <dgm:pt modelId="{19CBF419-9E92-4D5F-A934-D88F01C9054D}" type="sibTrans" cxnId="{E06F28F0-0187-4070-8490-6E6A76C82FBA}">
      <dgm:prSet/>
      <dgm:spPr/>
      <dgm:t>
        <a:bodyPr/>
        <a:lstStyle/>
        <a:p>
          <a:endParaRPr lang="fr-FR"/>
        </a:p>
      </dgm:t>
    </dgm:pt>
    <dgm:pt modelId="{DE71EF63-F0A2-4E1F-9EFF-6CF466F74FE1}" type="pres">
      <dgm:prSet presAssocID="{787C544D-3023-4F60-B53C-768C848DCD54}" presName="outerComposite" presStyleCnt="0">
        <dgm:presLayoutVars>
          <dgm:chMax val="5"/>
          <dgm:dir/>
          <dgm:resizeHandles val="exact"/>
        </dgm:presLayoutVars>
      </dgm:prSet>
      <dgm:spPr/>
    </dgm:pt>
    <dgm:pt modelId="{B64CC261-BD97-4DFF-9209-B3228AAB22D4}" type="pres">
      <dgm:prSet presAssocID="{787C544D-3023-4F60-B53C-768C848DCD54}" presName="dummyMaxCanvas" presStyleCnt="0">
        <dgm:presLayoutVars/>
      </dgm:prSet>
      <dgm:spPr/>
    </dgm:pt>
    <dgm:pt modelId="{67D84562-8FA5-49BC-8F2E-C4E3ABC0F302}" type="pres">
      <dgm:prSet presAssocID="{787C544D-3023-4F60-B53C-768C848DCD54}" presName="OneNode_1" presStyleLbl="node1" presStyleIdx="0" presStyleCnt="1" custScaleY="200000">
        <dgm:presLayoutVars>
          <dgm:bulletEnabled val="1"/>
        </dgm:presLayoutVars>
      </dgm:prSet>
      <dgm:spPr/>
    </dgm:pt>
  </dgm:ptLst>
  <dgm:cxnLst>
    <dgm:cxn modelId="{CE416505-0FAC-4AAF-AC05-B853CC37A930}" type="presOf" srcId="{787C544D-3023-4F60-B53C-768C848DCD54}" destId="{DE71EF63-F0A2-4E1F-9EFF-6CF466F74FE1}" srcOrd="0" destOrd="0" presId="urn:microsoft.com/office/officeart/2005/8/layout/vProcess5"/>
    <dgm:cxn modelId="{CBB5A1BD-36F8-468B-A910-A548017FF346}" type="presOf" srcId="{7246902C-F380-4244-A491-559EECE887E9}" destId="{67D84562-8FA5-49BC-8F2E-C4E3ABC0F302}" srcOrd="0" destOrd="0" presId="urn:microsoft.com/office/officeart/2005/8/layout/vProcess5"/>
    <dgm:cxn modelId="{E06F28F0-0187-4070-8490-6E6A76C82FBA}" srcId="{787C544D-3023-4F60-B53C-768C848DCD54}" destId="{7246902C-F380-4244-A491-559EECE887E9}" srcOrd="0" destOrd="0" parTransId="{C2C3550A-F1DD-4C8C-85ED-D96508225E30}" sibTransId="{19CBF419-9E92-4D5F-A934-D88F01C9054D}"/>
    <dgm:cxn modelId="{9F5EF7D9-55FA-4E61-9B83-5BE7CAEA6159}" type="presParOf" srcId="{DE71EF63-F0A2-4E1F-9EFF-6CF466F74FE1}" destId="{B64CC261-BD97-4DFF-9209-B3228AAB22D4}" srcOrd="0" destOrd="0" presId="urn:microsoft.com/office/officeart/2005/8/layout/vProcess5"/>
    <dgm:cxn modelId="{2024F099-8755-43F5-86F0-0F2B1D2DD014}" type="presParOf" srcId="{DE71EF63-F0A2-4E1F-9EFF-6CF466F74FE1}" destId="{67D84562-8FA5-49BC-8F2E-C4E3ABC0F302}" srcOrd="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AAE3A76-6831-4B44-B983-82A9CCE469D5}" type="doc">
      <dgm:prSet loTypeId="urn:microsoft.com/office/officeart/2005/8/layout/balance1" loCatId="relationship" qsTypeId="urn:microsoft.com/office/officeart/2005/8/quickstyle/simple5" qsCatId="simple" csTypeId="urn:microsoft.com/office/officeart/2005/8/colors/colorful1" csCatId="colorful" phldr="1"/>
      <dgm:spPr/>
      <dgm:t>
        <a:bodyPr/>
        <a:lstStyle/>
        <a:p>
          <a:endParaRPr lang="fr-FR"/>
        </a:p>
      </dgm:t>
    </dgm:pt>
    <dgm:pt modelId="{444C2857-D7C4-47DD-AC93-4CB296597025}">
      <dgm:prSet phldrT="[Texte]"/>
      <dgm:spPr/>
      <dgm:t>
        <a:bodyPr/>
        <a:lstStyle/>
        <a:p>
          <a:r>
            <a:rPr lang="fr-FR" b="1" dirty="0"/>
            <a:t>Ce que Albane possède :</a:t>
          </a:r>
        </a:p>
      </dgm:t>
    </dgm:pt>
    <dgm:pt modelId="{5D9E4568-3BB3-488D-AF61-7B4027213733}" type="parTrans" cxnId="{7F1E2C33-C954-4733-8744-524364862FA7}">
      <dgm:prSet/>
      <dgm:spPr/>
      <dgm:t>
        <a:bodyPr/>
        <a:lstStyle/>
        <a:p>
          <a:endParaRPr lang="fr-FR" b="1"/>
        </a:p>
      </dgm:t>
    </dgm:pt>
    <dgm:pt modelId="{3503367D-923B-427A-B324-E835AD2399BD}" type="sibTrans" cxnId="{7F1E2C33-C954-4733-8744-524364862FA7}">
      <dgm:prSet/>
      <dgm:spPr/>
      <dgm:t>
        <a:bodyPr/>
        <a:lstStyle/>
        <a:p>
          <a:endParaRPr lang="fr-FR" b="1"/>
        </a:p>
      </dgm:t>
    </dgm:pt>
    <dgm:pt modelId="{5224A370-A4E3-4107-A286-866EDAD61D56}">
      <dgm:prSet phldrT="[Texte]"/>
      <dgm:spPr/>
      <dgm:t>
        <a:bodyPr/>
        <a:lstStyle/>
        <a:p>
          <a:r>
            <a:rPr lang="fr-FR" b="1" dirty="0"/>
            <a:t>Voiture :</a:t>
          </a:r>
        </a:p>
        <a:p>
          <a:r>
            <a:rPr lang="fr-FR" b="1" dirty="0"/>
            <a:t>15 000 €</a:t>
          </a:r>
        </a:p>
      </dgm:t>
    </dgm:pt>
    <dgm:pt modelId="{BD823C30-3043-46DC-9CE9-92194529C493}" type="parTrans" cxnId="{BCAC5142-2AB2-4780-9654-B450FA437DFF}">
      <dgm:prSet/>
      <dgm:spPr/>
      <dgm:t>
        <a:bodyPr/>
        <a:lstStyle/>
        <a:p>
          <a:endParaRPr lang="fr-FR" b="1"/>
        </a:p>
      </dgm:t>
    </dgm:pt>
    <dgm:pt modelId="{FACC2FE0-B567-43C0-B99B-05D42130BB42}" type="sibTrans" cxnId="{BCAC5142-2AB2-4780-9654-B450FA437DFF}">
      <dgm:prSet/>
      <dgm:spPr/>
      <dgm:t>
        <a:bodyPr/>
        <a:lstStyle/>
        <a:p>
          <a:endParaRPr lang="fr-FR" b="1"/>
        </a:p>
      </dgm:t>
    </dgm:pt>
    <dgm:pt modelId="{CD35948E-1747-4B7F-A441-505037D11D78}">
      <dgm:prSet phldrT="[Texte]"/>
      <dgm:spPr/>
      <dgm:t>
        <a:bodyPr/>
        <a:lstStyle/>
        <a:p>
          <a:r>
            <a:rPr lang="fr-FR" b="1" dirty="0"/>
            <a:t>Maison : </a:t>
          </a:r>
        </a:p>
        <a:p>
          <a:r>
            <a:rPr lang="fr-FR" b="1" dirty="0"/>
            <a:t>250 000 €</a:t>
          </a:r>
        </a:p>
      </dgm:t>
    </dgm:pt>
    <dgm:pt modelId="{581CFC58-A390-40B6-8976-5DA74D8F3BC5}" type="parTrans" cxnId="{88C51F50-F76C-46F4-8318-E45E62322ECD}">
      <dgm:prSet/>
      <dgm:spPr/>
      <dgm:t>
        <a:bodyPr/>
        <a:lstStyle/>
        <a:p>
          <a:endParaRPr lang="fr-FR" b="1"/>
        </a:p>
      </dgm:t>
    </dgm:pt>
    <dgm:pt modelId="{5038FB8C-5BFB-4663-ACA5-6B21C5221155}" type="sibTrans" cxnId="{88C51F50-F76C-46F4-8318-E45E62322ECD}">
      <dgm:prSet/>
      <dgm:spPr/>
      <dgm:t>
        <a:bodyPr/>
        <a:lstStyle/>
        <a:p>
          <a:endParaRPr lang="fr-FR" b="1"/>
        </a:p>
      </dgm:t>
    </dgm:pt>
    <dgm:pt modelId="{8B4ABE55-A166-4DA1-BFE9-14F89AED8657}">
      <dgm:prSet phldrT="[Texte]"/>
      <dgm:spPr/>
      <dgm:t>
        <a:bodyPr/>
        <a:lstStyle/>
        <a:p>
          <a:r>
            <a:rPr lang="fr-FR" b="1" dirty="0"/>
            <a:t>Ce que Albane doit :</a:t>
          </a:r>
        </a:p>
      </dgm:t>
    </dgm:pt>
    <dgm:pt modelId="{6EC1E0C9-BF4E-40C2-9342-6052FC462E9D}" type="parTrans" cxnId="{45133F8A-BBA8-4C0B-8D27-33BA0E0EB0B0}">
      <dgm:prSet/>
      <dgm:spPr/>
      <dgm:t>
        <a:bodyPr/>
        <a:lstStyle/>
        <a:p>
          <a:endParaRPr lang="fr-FR" b="1"/>
        </a:p>
      </dgm:t>
    </dgm:pt>
    <dgm:pt modelId="{94F0536C-156E-4099-B7DE-AFCDA1079205}" type="sibTrans" cxnId="{45133F8A-BBA8-4C0B-8D27-33BA0E0EB0B0}">
      <dgm:prSet/>
      <dgm:spPr/>
      <dgm:t>
        <a:bodyPr/>
        <a:lstStyle/>
        <a:p>
          <a:endParaRPr lang="fr-FR" b="1"/>
        </a:p>
      </dgm:t>
    </dgm:pt>
    <dgm:pt modelId="{B7DEEC07-9984-4287-8285-2AE951F927F6}">
      <dgm:prSet phldrT="[Texte]"/>
      <dgm:spPr/>
      <dgm:t>
        <a:bodyPr/>
        <a:lstStyle/>
        <a:p>
          <a:r>
            <a:rPr lang="fr-FR" b="1"/>
            <a:t>Emprunt bancaire pour financer sa maison : 93 000 €</a:t>
          </a:r>
          <a:endParaRPr lang="fr-FR" b="1" dirty="0"/>
        </a:p>
      </dgm:t>
    </dgm:pt>
    <dgm:pt modelId="{358C3866-62F4-4AFF-8C62-74D2810280CB}" type="parTrans" cxnId="{74CD8C84-ED08-462C-AA04-40E20E334A74}">
      <dgm:prSet/>
      <dgm:spPr/>
      <dgm:t>
        <a:bodyPr/>
        <a:lstStyle/>
        <a:p>
          <a:endParaRPr lang="fr-FR" b="1"/>
        </a:p>
      </dgm:t>
    </dgm:pt>
    <dgm:pt modelId="{7FF40784-850C-464B-B784-4F93EC158CBE}" type="sibTrans" cxnId="{74CD8C84-ED08-462C-AA04-40E20E334A74}">
      <dgm:prSet/>
      <dgm:spPr/>
      <dgm:t>
        <a:bodyPr/>
        <a:lstStyle/>
        <a:p>
          <a:endParaRPr lang="fr-FR" b="1"/>
        </a:p>
      </dgm:t>
    </dgm:pt>
    <dgm:pt modelId="{46299E97-F79C-4AC2-936E-807560A1C6BD}">
      <dgm:prSet phldrT="[Texte]"/>
      <dgm:spPr/>
      <dgm:t>
        <a:bodyPr/>
        <a:lstStyle/>
        <a:p>
          <a:r>
            <a:rPr lang="fr-FR" b="1" dirty="0"/>
            <a:t>Argent à la banque : 5 300 €</a:t>
          </a:r>
        </a:p>
      </dgm:t>
    </dgm:pt>
    <dgm:pt modelId="{22B216CA-D5F7-45E6-B6F6-ECE555C48C9E}" type="parTrans" cxnId="{494363B0-8B75-49FA-A334-7C125936D876}">
      <dgm:prSet/>
      <dgm:spPr/>
      <dgm:t>
        <a:bodyPr/>
        <a:lstStyle/>
        <a:p>
          <a:endParaRPr lang="fr-FR" b="1"/>
        </a:p>
      </dgm:t>
    </dgm:pt>
    <dgm:pt modelId="{151BBE49-AE70-414D-A4CE-BDEE199A1A33}" type="sibTrans" cxnId="{494363B0-8B75-49FA-A334-7C125936D876}">
      <dgm:prSet/>
      <dgm:spPr/>
      <dgm:t>
        <a:bodyPr/>
        <a:lstStyle/>
        <a:p>
          <a:endParaRPr lang="fr-FR" b="1"/>
        </a:p>
      </dgm:t>
    </dgm:pt>
    <dgm:pt modelId="{C038EB48-400C-4F89-87EE-C8AB81BFF2AA}" type="pres">
      <dgm:prSet presAssocID="{1AAE3A76-6831-4B44-B983-82A9CCE469D5}" presName="outerComposite" presStyleCnt="0">
        <dgm:presLayoutVars>
          <dgm:chMax val="2"/>
          <dgm:animLvl val="lvl"/>
          <dgm:resizeHandles val="exact"/>
        </dgm:presLayoutVars>
      </dgm:prSet>
      <dgm:spPr/>
    </dgm:pt>
    <dgm:pt modelId="{33D6EC57-DB45-4AE3-80EB-05FB38E42BC1}" type="pres">
      <dgm:prSet presAssocID="{1AAE3A76-6831-4B44-B983-82A9CCE469D5}" presName="dummyMaxCanvas" presStyleCnt="0"/>
      <dgm:spPr/>
    </dgm:pt>
    <dgm:pt modelId="{9613B856-EDCD-4786-96BD-D8767D4272E4}" type="pres">
      <dgm:prSet presAssocID="{1AAE3A76-6831-4B44-B983-82A9CCE469D5}" presName="parentComposite" presStyleCnt="0"/>
      <dgm:spPr/>
    </dgm:pt>
    <dgm:pt modelId="{56502E5F-ADC4-43B6-BEF1-4D4D5F71A189}" type="pres">
      <dgm:prSet presAssocID="{1AAE3A76-6831-4B44-B983-82A9CCE469D5}" presName="parent1" presStyleLbl="alignAccFollowNode1" presStyleIdx="0" presStyleCnt="4">
        <dgm:presLayoutVars>
          <dgm:chMax val="4"/>
        </dgm:presLayoutVars>
      </dgm:prSet>
      <dgm:spPr/>
    </dgm:pt>
    <dgm:pt modelId="{65EA2CAC-9328-422B-BBC9-274A677E2BAD}" type="pres">
      <dgm:prSet presAssocID="{1AAE3A76-6831-4B44-B983-82A9CCE469D5}" presName="parent2" presStyleLbl="alignAccFollowNode1" presStyleIdx="1" presStyleCnt="4">
        <dgm:presLayoutVars>
          <dgm:chMax val="4"/>
        </dgm:presLayoutVars>
      </dgm:prSet>
      <dgm:spPr/>
    </dgm:pt>
    <dgm:pt modelId="{07381814-04AD-4E83-9066-D4BA99BEF57C}" type="pres">
      <dgm:prSet presAssocID="{1AAE3A76-6831-4B44-B983-82A9CCE469D5}" presName="childrenComposite" presStyleCnt="0"/>
      <dgm:spPr/>
    </dgm:pt>
    <dgm:pt modelId="{0796A48C-78C8-4A38-A578-3B5D5FAF31EE}" type="pres">
      <dgm:prSet presAssocID="{1AAE3A76-6831-4B44-B983-82A9CCE469D5}" presName="dummyMaxCanvas_ChildArea" presStyleCnt="0"/>
      <dgm:spPr/>
    </dgm:pt>
    <dgm:pt modelId="{CA27272F-033C-4CF1-AF28-76BE091CF83A}" type="pres">
      <dgm:prSet presAssocID="{1AAE3A76-6831-4B44-B983-82A9CCE469D5}" presName="fulcrum" presStyleLbl="alignAccFollowNode1" presStyleIdx="2" presStyleCnt="4"/>
      <dgm:spPr/>
    </dgm:pt>
    <dgm:pt modelId="{A124DC65-472B-4F50-876F-755DF4C0630D}" type="pres">
      <dgm:prSet presAssocID="{1AAE3A76-6831-4B44-B983-82A9CCE469D5}" presName="balance_31" presStyleLbl="alignAccFollowNode1" presStyleIdx="3" presStyleCnt="4">
        <dgm:presLayoutVars>
          <dgm:bulletEnabled val="1"/>
        </dgm:presLayoutVars>
      </dgm:prSet>
      <dgm:spPr/>
    </dgm:pt>
    <dgm:pt modelId="{F5F149E6-3B26-474C-B144-126E135DAA12}" type="pres">
      <dgm:prSet presAssocID="{1AAE3A76-6831-4B44-B983-82A9CCE469D5}" presName="left_31_1" presStyleLbl="node1" presStyleIdx="0" presStyleCnt="4">
        <dgm:presLayoutVars>
          <dgm:bulletEnabled val="1"/>
        </dgm:presLayoutVars>
      </dgm:prSet>
      <dgm:spPr/>
    </dgm:pt>
    <dgm:pt modelId="{85776943-5122-47FA-B63C-9C56CCA363A0}" type="pres">
      <dgm:prSet presAssocID="{1AAE3A76-6831-4B44-B983-82A9CCE469D5}" presName="left_31_2" presStyleLbl="node1" presStyleIdx="1" presStyleCnt="4">
        <dgm:presLayoutVars>
          <dgm:bulletEnabled val="1"/>
        </dgm:presLayoutVars>
      </dgm:prSet>
      <dgm:spPr/>
    </dgm:pt>
    <dgm:pt modelId="{580C8E3B-461B-4168-B490-B0D66AA19163}" type="pres">
      <dgm:prSet presAssocID="{1AAE3A76-6831-4B44-B983-82A9CCE469D5}" presName="left_31_3" presStyleLbl="node1" presStyleIdx="2" presStyleCnt="4">
        <dgm:presLayoutVars>
          <dgm:bulletEnabled val="1"/>
        </dgm:presLayoutVars>
      </dgm:prSet>
      <dgm:spPr/>
    </dgm:pt>
    <dgm:pt modelId="{D2B217B4-0B5C-4BF1-8021-E3FBFB976AF1}" type="pres">
      <dgm:prSet presAssocID="{1AAE3A76-6831-4B44-B983-82A9CCE469D5}" presName="right_31_1" presStyleLbl="node1" presStyleIdx="3" presStyleCnt="4">
        <dgm:presLayoutVars>
          <dgm:bulletEnabled val="1"/>
        </dgm:presLayoutVars>
      </dgm:prSet>
      <dgm:spPr/>
    </dgm:pt>
  </dgm:ptLst>
  <dgm:cxnLst>
    <dgm:cxn modelId="{60FE2502-DD93-479F-A983-6024A1BCAE62}" type="presOf" srcId="{B7DEEC07-9984-4287-8285-2AE951F927F6}" destId="{D2B217B4-0B5C-4BF1-8021-E3FBFB976AF1}" srcOrd="0" destOrd="0" presId="urn:microsoft.com/office/officeart/2005/8/layout/balance1"/>
    <dgm:cxn modelId="{1DBE9B18-B456-469D-86A9-08BD7C3F754B}" type="presOf" srcId="{46299E97-F79C-4AC2-936E-807560A1C6BD}" destId="{F5F149E6-3B26-474C-B144-126E135DAA12}" srcOrd="0" destOrd="0" presId="urn:microsoft.com/office/officeart/2005/8/layout/balance1"/>
    <dgm:cxn modelId="{A5472928-9A1A-4C00-880E-0BD64B8B3E1F}" type="presOf" srcId="{8B4ABE55-A166-4DA1-BFE9-14F89AED8657}" destId="{65EA2CAC-9328-422B-BBC9-274A677E2BAD}" srcOrd="0" destOrd="0" presId="urn:microsoft.com/office/officeart/2005/8/layout/balance1"/>
    <dgm:cxn modelId="{7F1E2C33-C954-4733-8744-524364862FA7}" srcId="{1AAE3A76-6831-4B44-B983-82A9CCE469D5}" destId="{444C2857-D7C4-47DD-AC93-4CB296597025}" srcOrd="0" destOrd="0" parTransId="{5D9E4568-3BB3-488D-AF61-7B4027213733}" sibTransId="{3503367D-923B-427A-B324-E835AD2399BD}"/>
    <dgm:cxn modelId="{BCAC5142-2AB2-4780-9654-B450FA437DFF}" srcId="{444C2857-D7C4-47DD-AC93-4CB296597025}" destId="{5224A370-A4E3-4107-A286-866EDAD61D56}" srcOrd="1" destOrd="0" parTransId="{BD823C30-3043-46DC-9CE9-92194529C493}" sibTransId="{FACC2FE0-B567-43C0-B99B-05D42130BB42}"/>
    <dgm:cxn modelId="{88E9C36A-1BE0-47F8-AE0F-8ABBE3305BAF}" type="presOf" srcId="{444C2857-D7C4-47DD-AC93-4CB296597025}" destId="{56502E5F-ADC4-43B6-BEF1-4D4D5F71A189}" srcOrd="0" destOrd="0" presId="urn:microsoft.com/office/officeart/2005/8/layout/balance1"/>
    <dgm:cxn modelId="{1DBECB4D-08A7-4487-A5CC-6903B9E62548}" type="presOf" srcId="{5224A370-A4E3-4107-A286-866EDAD61D56}" destId="{85776943-5122-47FA-B63C-9C56CCA363A0}" srcOrd="0" destOrd="0" presId="urn:microsoft.com/office/officeart/2005/8/layout/balance1"/>
    <dgm:cxn modelId="{88C51F50-F76C-46F4-8318-E45E62322ECD}" srcId="{444C2857-D7C4-47DD-AC93-4CB296597025}" destId="{CD35948E-1747-4B7F-A441-505037D11D78}" srcOrd="2" destOrd="0" parTransId="{581CFC58-A390-40B6-8976-5DA74D8F3BC5}" sibTransId="{5038FB8C-5BFB-4663-ACA5-6B21C5221155}"/>
    <dgm:cxn modelId="{E4FFA351-D8A2-4893-B2DF-3D393CC761A6}" type="presOf" srcId="{CD35948E-1747-4B7F-A441-505037D11D78}" destId="{580C8E3B-461B-4168-B490-B0D66AA19163}" srcOrd="0" destOrd="0" presId="urn:microsoft.com/office/officeart/2005/8/layout/balance1"/>
    <dgm:cxn modelId="{74CD8C84-ED08-462C-AA04-40E20E334A74}" srcId="{8B4ABE55-A166-4DA1-BFE9-14F89AED8657}" destId="{B7DEEC07-9984-4287-8285-2AE951F927F6}" srcOrd="0" destOrd="0" parTransId="{358C3866-62F4-4AFF-8C62-74D2810280CB}" sibTransId="{7FF40784-850C-464B-B784-4F93EC158CBE}"/>
    <dgm:cxn modelId="{45133F8A-BBA8-4C0B-8D27-33BA0E0EB0B0}" srcId="{1AAE3A76-6831-4B44-B983-82A9CCE469D5}" destId="{8B4ABE55-A166-4DA1-BFE9-14F89AED8657}" srcOrd="1" destOrd="0" parTransId="{6EC1E0C9-BF4E-40C2-9342-6052FC462E9D}" sibTransId="{94F0536C-156E-4099-B7DE-AFCDA1079205}"/>
    <dgm:cxn modelId="{494363B0-8B75-49FA-A334-7C125936D876}" srcId="{444C2857-D7C4-47DD-AC93-4CB296597025}" destId="{46299E97-F79C-4AC2-936E-807560A1C6BD}" srcOrd="0" destOrd="0" parTransId="{22B216CA-D5F7-45E6-B6F6-ECE555C48C9E}" sibTransId="{151BBE49-AE70-414D-A4CE-BDEE199A1A33}"/>
    <dgm:cxn modelId="{E5E36AFE-27C9-494E-9456-B0B3B4D4DBAF}" type="presOf" srcId="{1AAE3A76-6831-4B44-B983-82A9CCE469D5}" destId="{C038EB48-400C-4F89-87EE-C8AB81BFF2AA}" srcOrd="0" destOrd="0" presId="urn:microsoft.com/office/officeart/2005/8/layout/balance1"/>
    <dgm:cxn modelId="{F2C41232-937F-4235-A0A7-FA667B055BC2}" type="presParOf" srcId="{C038EB48-400C-4F89-87EE-C8AB81BFF2AA}" destId="{33D6EC57-DB45-4AE3-80EB-05FB38E42BC1}" srcOrd="0" destOrd="0" presId="urn:microsoft.com/office/officeart/2005/8/layout/balance1"/>
    <dgm:cxn modelId="{D6004442-0D31-4238-89D0-6A28B5A1EA14}" type="presParOf" srcId="{C038EB48-400C-4F89-87EE-C8AB81BFF2AA}" destId="{9613B856-EDCD-4786-96BD-D8767D4272E4}" srcOrd="1" destOrd="0" presId="urn:microsoft.com/office/officeart/2005/8/layout/balance1"/>
    <dgm:cxn modelId="{470FDA8A-41EE-46A2-BC9B-2FD0FAF503F2}" type="presParOf" srcId="{9613B856-EDCD-4786-96BD-D8767D4272E4}" destId="{56502E5F-ADC4-43B6-BEF1-4D4D5F71A189}" srcOrd="0" destOrd="0" presId="urn:microsoft.com/office/officeart/2005/8/layout/balance1"/>
    <dgm:cxn modelId="{C1846EC3-3C0A-4BB0-A5F4-0691455C90F7}" type="presParOf" srcId="{9613B856-EDCD-4786-96BD-D8767D4272E4}" destId="{65EA2CAC-9328-422B-BBC9-274A677E2BAD}" srcOrd="1" destOrd="0" presId="urn:microsoft.com/office/officeart/2005/8/layout/balance1"/>
    <dgm:cxn modelId="{EB96DE8B-3E4A-49F0-8411-6F67F25729DF}" type="presParOf" srcId="{C038EB48-400C-4F89-87EE-C8AB81BFF2AA}" destId="{07381814-04AD-4E83-9066-D4BA99BEF57C}" srcOrd="2" destOrd="0" presId="urn:microsoft.com/office/officeart/2005/8/layout/balance1"/>
    <dgm:cxn modelId="{655A79A0-186B-4F70-9E30-E49A810E2D7F}" type="presParOf" srcId="{07381814-04AD-4E83-9066-D4BA99BEF57C}" destId="{0796A48C-78C8-4A38-A578-3B5D5FAF31EE}" srcOrd="0" destOrd="0" presId="urn:microsoft.com/office/officeart/2005/8/layout/balance1"/>
    <dgm:cxn modelId="{A680B5B6-13D9-45CB-9950-ADFDBE983A12}" type="presParOf" srcId="{07381814-04AD-4E83-9066-D4BA99BEF57C}" destId="{CA27272F-033C-4CF1-AF28-76BE091CF83A}" srcOrd="1" destOrd="0" presId="urn:microsoft.com/office/officeart/2005/8/layout/balance1"/>
    <dgm:cxn modelId="{74B0546A-1F63-4F5F-B4F9-2D357D8BA521}" type="presParOf" srcId="{07381814-04AD-4E83-9066-D4BA99BEF57C}" destId="{A124DC65-472B-4F50-876F-755DF4C0630D}" srcOrd="2" destOrd="0" presId="urn:microsoft.com/office/officeart/2005/8/layout/balance1"/>
    <dgm:cxn modelId="{CD58B42E-4709-4745-A5B6-79110227ACBA}" type="presParOf" srcId="{07381814-04AD-4E83-9066-D4BA99BEF57C}" destId="{F5F149E6-3B26-474C-B144-126E135DAA12}" srcOrd="3" destOrd="0" presId="urn:microsoft.com/office/officeart/2005/8/layout/balance1"/>
    <dgm:cxn modelId="{22E9C19D-7FEE-40E0-8DC7-D5B2188EF559}" type="presParOf" srcId="{07381814-04AD-4E83-9066-D4BA99BEF57C}" destId="{85776943-5122-47FA-B63C-9C56CCA363A0}" srcOrd="4" destOrd="0" presId="urn:microsoft.com/office/officeart/2005/8/layout/balance1"/>
    <dgm:cxn modelId="{D22F2E8B-3744-4AA1-92B0-7CD8178A508E}" type="presParOf" srcId="{07381814-04AD-4E83-9066-D4BA99BEF57C}" destId="{580C8E3B-461B-4168-B490-B0D66AA19163}" srcOrd="5" destOrd="0" presId="urn:microsoft.com/office/officeart/2005/8/layout/balance1"/>
    <dgm:cxn modelId="{F154DE4F-E330-45D9-B99B-88BFC7F7E55B}" type="presParOf" srcId="{07381814-04AD-4E83-9066-D4BA99BEF57C}" destId="{D2B217B4-0B5C-4BF1-8021-E3FBFB976AF1}" srcOrd="6" destOrd="0" presId="urn:microsoft.com/office/officeart/2005/8/layout/balance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0A0C52E-67F5-493E-85E4-E8CC970E80C3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BE301985-A4D3-49E3-9A42-4AF7C8510550}">
      <dgm:prSet phldrT="[Texte]">
        <dgm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fr-FR" b="1" dirty="0"/>
            <a:t>Où est notre argent ?</a:t>
          </a:r>
          <a:endParaRPr lang="fr-FR" dirty="0"/>
        </a:p>
      </dgm:t>
    </dgm:pt>
    <dgm:pt modelId="{A1BA4F6C-739A-45B0-9682-3106F16D78DD}" type="parTrans" cxnId="{09E8DF3A-6DD3-4B0A-B4A5-EC03E162AE7B}">
      <dgm:prSet/>
      <dgm:spPr/>
      <dgm:t>
        <a:bodyPr/>
        <a:lstStyle/>
        <a:p>
          <a:endParaRPr lang="fr-FR"/>
        </a:p>
      </dgm:t>
    </dgm:pt>
    <dgm:pt modelId="{83984F9E-9039-4623-AFEE-1888BE303A47}" type="sibTrans" cxnId="{09E8DF3A-6DD3-4B0A-B4A5-EC03E162AE7B}">
      <dgm:prSet/>
      <dgm:spPr/>
      <dgm:t>
        <a:bodyPr/>
        <a:lstStyle/>
        <a:p>
          <a:endParaRPr lang="fr-FR"/>
        </a:p>
      </dgm:t>
    </dgm:pt>
    <dgm:pt modelId="{05C68558-E7CF-4081-BE5A-62638D271606}">
      <dgm:prSet phldrT="[Texte]"/>
      <dgm:spPr/>
      <dgm:t>
        <a:bodyPr/>
        <a:lstStyle/>
        <a:p>
          <a:r>
            <a:rPr lang="fr-FR" dirty="0"/>
            <a:t>Quelles sont les ressources allouées à l’entreprise ?</a:t>
          </a:r>
        </a:p>
      </dgm:t>
    </dgm:pt>
    <dgm:pt modelId="{24A1150F-E54B-432E-BB8B-7B048FB2DA33}" type="parTrans" cxnId="{A15C286B-C46D-45EF-B219-301DA1605069}">
      <dgm:prSet/>
      <dgm:spPr/>
      <dgm:t>
        <a:bodyPr/>
        <a:lstStyle/>
        <a:p>
          <a:endParaRPr lang="fr-FR"/>
        </a:p>
      </dgm:t>
    </dgm:pt>
    <dgm:pt modelId="{9AEF50AF-94CA-4656-84A6-96D0F2B51721}" type="sibTrans" cxnId="{A15C286B-C46D-45EF-B219-301DA1605069}">
      <dgm:prSet/>
      <dgm:spPr/>
      <dgm:t>
        <a:bodyPr/>
        <a:lstStyle/>
        <a:p>
          <a:endParaRPr lang="fr-FR"/>
        </a:p>
      </dgm:t>
    </dgm:pt>
    <dgm:pt modelId="{20F3BD28-F826-4EE8-A543-4E7AF699062A}">
      <dgm:prSet phldrT="[Texte]">
        <dgm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fr-FR" b="1" dirty="0"/>
            <a:t>D’où vient notre argent ?</a:t>
          </a:r>
          <a:endParaRPr lang="fr-FR" dirty="0"/>
        </a:p>
      </dgm:t>
    </dgm:pt>
    <dgm:pt modelId="{CB7E9D7C-EDB3-4321-9B93-F1C5FE8F81B8}" type="parTrans" cxnId="{8E2C9FBB-4439-48B2-BE75-F2F13F145750}">
      <dgm:prSet/>
      <dgm:spPr/>
      <dgm:t>
        <a:bodyPr/>
        <a:lstStyle/>
        <a:p>
          <a:endParaRPr lang="fr-FR"/>
        </a:p>
      </dgm:t>
    </dgm:pt>
    <dgm:pt modelId="{A099DCE0-1929-4BA3-8327-ED1DFC814D5A}" type="sibTrans" cxnId="{8E2C9FBB-4439-48B2-BE75-F2F13F145750}">
      <dgm:prSet/>
      <dgm:spPr/>
      <dgm:t>
        <a:bodyPr/>
        <a:lstStyle/>
        <a:p>
          <a:endParaRPr lang="fr-FR"/>
        </a:p>
      </dgm:t>
    </dgm:pt>
    <dgm:pt modelId="{892E22FD-8D7A-47F1-B521-B5B8FA78810E}">
      <dgm:prSet phldrT="[Texte]"/>
      <dgm:spPr/>
      <dgm:t>
        <a:bodyPr/>
        <a:lstStyle/>
        <a:p>
          <a:r>
            <a:rPr lang="fr-FR" dirty="0"/>
            <a:t>Quel emplois en a-t-on fait ?</a:t>
          </a:r>
        </a:p>
      </dgm:t>
    </dgm:pt>
    <dgm:pt modelId="{49EE926F-2CC9-4C13-8893-67FACFF4645E}" type="parTrans" cxnId="{3F6B666B-8D79-4D77-A1DB-BB355919D3CE}">
      <dgm:prSet/>
      <dgm:spPr/>
      <dgm:t>
        <a:bodyPr/>
        <a:lstStyle/>
        <a:p>
          <a:endParaRPr lang="fr-FR"/>
        </a:p>
      </dgm:t>
    </dgm:pt>
    <dgm:pt modelId="{AF72C7C3-C06D-4CC6-A0F8-255DC5B12CDC}" type="sibTrans" cxnId="{3F6B666B-8D79-4D77-A1DB-BB355919D3CE}">
      <dgm:prSet/>
      <dgm:spPr/>
      <dgm:t>
        <a:bodyPr/>
        <a:lstStyle/>
        <a:p>
          <a:endParaRPr lang="fr-FR"/>
        </a:p>
      </dgm:t>
    </dgm:pt>
    <dgm:pt modelId="{5678BD06-9DC1-4285-87FB-1ACE4E71D19B}" type="pres">
      <dgm:prSet presAssocID="{A0A0C52E-67F5-493E-85E4-E8CC970E80C3}" presName="Name0" presStyleCnt="0">
        <dgm:presLayoutVars>
          <dgm:dir/>
          <dgm:animLvl val="lvl"/>
          <dgm:resizeHandles val="exact"/>
        </dgm:presLayoutVars>
      </dgm:prSet>
      <dgm:spPr/>
    </dgm:pt>
    <dgm:pt modelId="{EAF3AE75-6408-443F-AC0E-532E284EE842}" type="pres">
      <dgm:prSet presAssocID="{BE301985-A4D3-49E3-9A42-4AF7C8510550}" presName="linNode" presStyleCnt="0"/>
      <dgm:spPr/>
    </dgm:pt>
    <dgm:pt modelId="{0C7F3F9E-FD32-40BD-B42D-FB722A99A169}" type="pres">
      <dgm:prSet presAssocID="{BE301985-A4D3-49E3-9A42-4AF7C8510550}" presName="parentText" presStyleLbl="node1" presStyleIdx="0" presStyleCnt="2">
        <dgm:presLayoutVars>
          <dgm:chMax val="1"/>
          <dgm:bulletEnabled val="1"/>
        </dgm:presLayoutVars>
      </dgm:prSet>
      <dgm:spPr/>
    </dgm:pt>
    <dgm:pt modelId="{240CFC1C-B419-481A-8807-02685D0F6E84}" type="pres">
      <dgm:prSet presAssocID="{BE301985-A4D3-49E3-9A42-4AF7C8510550}" presName="descendantText" presStyleLbl="alignAccFollowNode1" presStyleIdx="0" presStyleCnt="2">
        <dgm:presLayoutVars>
          <dgm:bulletEnabled val="1"/>
        </dgm:presLayoutVars>
      </dgm:prSet>
      <dgm:spPr/>
    </dgm:pt>
    <dgm:pt modelId="{A9236EEC-2DF3-458B-8412-9A4BD3919649}" type="pres">
      <dgm:prSet presAssocID="{83984F9E-9039-4623-AFEE-1888BE303A47}" presName="sp" presStyleCnt="0"/>
      <dgm:spPr/>
    </dgm:pt>
    <dgm:pt modelId="{1DEB2DBF-A55C-4349-BB9F-1E331485AC27}" type="pres">
      <dgm:prSet presAssocID="{20F3BD28-F826-4EE8-A543-4E7AF699062A}" presName="linNode" presStyleCnt="0"/>
      <dgm:spPr/>
    </dgm:pt>
    <dgm:pt modelId="{462CE494-B682-4E0C-A8B2-4863B93F5345}" type="pres">
      <dgm:prSet presAssocID="{20F3BD28-F826-4EE8-A543-4E7AF699062A}" presName="parentText" presStyleLbl="node1" presStyleIdx="1" presStyleCnt="2">
        <dgm:presLayoutVars>
          <dgm:chMax val="1"/>
          <dgm:bulletEnabled val="1"/>
        </dgm:presLayoutVars>
      </dgm:prSet>
      <dgm:spPr/>
    </dgm:pt>
    <dgm:pt modelId="{A8931A37-75F2-4CA8-8005-FB6EFF896877}" type="pres">
      <dgm:prSet presAssocID="{20F3BD28-F826-4EE8-A543-4E7AF699062A}" presName="descendantText" presStyleLbl="alignAccFollowNode1" presStyleIdx="1" presStyleCnt="2">
        <dgm:presLayoutVars>
          <dgm:bulletEnabled val="1"/>
        </dgm:presLayoutVars>
      </dgm:prSet>
      <dgm:spPr/>
    </dgm:pt>
  </dgm:ptLst>
  <dgm:cxnLst>
    <dgm:cxn modelId="{09E8DF3A-6DD3-4B0A-B4A5-EC03E162AE7B}" srcId="{A0A0C52E-67F5-493E-85E4-E8CC970E80C3}" destId="{BE301985-A4D3-49E3-9A42-4AF7C8510550}" srcOrd="0" destOrd="0" parTransId="{A1BA4F6C-739A-45B0-9682-3106F16D78DD}" sibTransId="{83984F9E-9039-4623-AFEE-1888BE303A47}"/>
    <dgm:cxn modelId="{A15C286B-C46D-45EF-B219-301DA1605069}" srcId="{BE301985-A4D3-49E3-9A42-4AF7C8510550}" destId="{05C68558-E7CF-4081-BE5A-62638D271606}" srcOrd="0" destOrd="0" parTransId="{24A1150F-E54B-432E-BB8B-7B048FB2DA33}" sibTransId="{9AEF50AF-94CA-4656-84A6-96D0F2B51721}"/>
    <dgm:cxn modelId="{3F6B666B-8D79-4D77-A1DB-BB355919D3CE}" srcId="{20F3BD28-F826-4EE8-A543-4E7AF699062A}" destId="{892E22FD-8D7A-47F1-B521-B5B8FA78810E}" srcOrd="0" destOrd="0" parTransId="{49EE926F-2CC9-4C13-8893-67FACFF4645E}" sibTransId="{AF72C7C3-C06D-4CC6-A0F8-255DC5B12CDC}"/>
    <dgm:cxn modelId="{63846A74-B1F1-4886-8A3C-1D1D07062837}" type="presOf" srcId="{20F3BD28-F826-4EE8-A543-4E7AF699062A}" destId="{462CE494-B682-4E0C-A8B2-4863B93F5345}" srcOrd="0" destOrd="0" presId="urn:microsoft.com/office/officeart/2005/8/layout/vList5"/>
    <dgm:cxn modelId="{8E2C9FBB-4439-48B2-BE75-F2F13F145750}" srcId="{A0A0C52E-67F5-493E-85E4-E8CC970E80C3}" destId="{20F3BD28-F826-4EE8-A543-4E7AF699062A}" srcOrd="1" destOrd="0" parTransId="{CB7E9D7C-EDB3-4321-9B93-F1C5FE8F81B8}" sibTransId="{A099DCE0-1929-4BA3-8327-ED1DFC814D5A}"/>
    <dgm:cxn modelId="{BD8742C9-1FC1-4A71-A4C6-F1A1A249C37F}" type="presOf" srcId="{BE301985-A4D3-49E3-9A42-4AF7C8510550}" destId="{0C7F3F9E-FD32-40BD-B42D-FB722A99A169}" srcOrd="0" destOrd="0" presId="urn:microsoft.com/office/officeart/2005/8/layout/vList5"/>
    <dgm:cxn modelId="{7A2AB4CC-CBE0-4F65-90E6-B49E2641D03A}" type="presOf" srcId="{A0A0C52E-67F5-493E-85E4-E8CC970E80C3}" destId="{5678BD06-9DC1-4285-87FB-1ACE4E71D19B}" srcOrd="0" destOrd="0" presId="urn:microsoft.com/office/officeart/2005/8/layout/vList5"/>
    <dgm:cxn modelId="{E6CB26E8-D0DD-4DFB-9F82-3D59CC794D42}" type="presOf" srcId="{892E22FD-8D7A-47F1-B521-B5B8FA78810E}" destId="{A8931A37-75F2-4CA8-8005-FB6EFF896877}" srcOrd="0" destOrd="0" presId="urn:microsoft.com/office/officeart/2005/8/layout/vList5"/>
    <dgm:cxn modelId="{70B787F7-82FD-4B98-B8C9-92B054355A88}" type="presOf" srcId="{05C68558-E7CF-4081-BE5A-62638D271606}" destId="{240CFC1C-B419-481A-8807-02685D0F6E84}" srcOrd="0" destOrd="0" presId="urn:microsoft.com/office/officeart/2005/8/layout/vList5"/>
    <dgm:cxn modelId="{F2E17F0C-A2B5-456A-BE71-7A7E13D451DB}" type="presParOf" srcId="{5678BD06-9DC1-4285-87FB-1ACE4E71D19B}" destId="{EAF3AE75-6408-443F-AC0E-532E284EE842}" srcOrd="0" destOrd="0" presId="urn:microsoft.com/office/officeart/2005/8/layout/vList5"/>
    <dgm:cxn modelId="{9576D13F-434F-49B6-A10E-256F0B22BA04}" type="presParOf" srcId="{EAF3AE75-6408-443F-AC0E-532E284EE842}" destId="{0C7F3F9E-FD32-40BD-B42D-FB722A99A169}" srcOrd="0" destOrd="0" presId="urn:microsoft.com/office/officeart/2005/8/layout/vList5"/>
    <dgm:cxn modelId="{365C3ECA-84AF-4249-9147-70B3BFF19C21}" type="presParOf" srcId="{EAF3AE75-6408-443F-AC0E-532E284EE842}" destId="{240CFC1C-B419-481A-8807-02685D0F6E84}" srcOrd="1" destOrd="0" presId="urn:microsoft.com/office/officeart/2005/8/layout/vList5"/>
    <dgm:cxn modelId="{CA9CCD6B-BFAC-47A6-AF77-8F326F962F50}" type="presParOf" srcId="{5678BD06-9DC1-4285-87FB-1ACE4E71D19B}" destId="{A9236EEC-2DF3-458B-8412-9A4BD3919649}" srcOrd="1" destOrd="0" presId="urn:microsoft.com/office/officeart/2005/8/layout/vList5"/>
    <dgm:cxn modelId="{D8F3979A-1649-4B6D-B2C0-416B58B669B1}" type="presParOf" srcId="{5678BD06-9DC1-4285-87FB-1ACE4E71D19B}" destId="{1DEB2DBF-A55C-4349-BB9F-1E331485AC27}" srcOrd="2" destOrd="0" presId="urn:microsoft.com/office/officeart/2005/8/layout/vList5"/>
    <dgm:cxn modelId="{9DECABF2-0B57-4672-9B7B-E0F3BAB1D930}" type="presParOf" srcId="{1DEB2DBF-A55C-4349-BB9F-1E331485AC27}" destId="{462CE494-B682-4E0C-A8B2-4863B93F5345}" srcOrd="0" destOrd="0" presId="urn:microsoft.com/office/officeart/2005/8/layout/vList5"/>
    <dgm:cxn modelId="{24DF14B3-183C-4316-9145-F42EA06F0E7A}" type="presParOf" srcId="{1DEB2DBF-A55C-4349-BB9F-1E331485AC27}" destId="{A8931A37-75F2-4CA8-8005-FB6EFF896877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24DEDCA-198F-4BB8-9F9A-780A4E62517B}" type="doc">
      <dgm:prSet loTypeId="urn:microsoft.com/office/officeart/2005/8/layout/lProcess2" loCatId="list" qsTypeId="urn:microsoft.com/office/officeart/2005/8/quickstyle/3d1" qsCatId="3D" csTypeId="urn:microsoft.com/office/officeart/2005/8/colors/colorful4" csCatId="colorful" phldr="1"/>
      <dgm:spPr/>
      <dgm:t>
        <a:bodyPr/>
        <a:lstStyle/>
        <a:p>
          <a:endParaRPr lang="fr-FR"/>
        </a:p>
      </dgm:t>
    </dgm:pt>
    <dgm:pt modelId="{4556B3D5-CE55-449C-9C77-C0B98B638A1E}">
      <dgm:prSet phldrT="[Texte]"/>
      <dgm:spPr/>
      <dgm:t>
        <a:bodyPr/>
        <a:lstStyle/>
        <a:p>
          <a:r>
            <a:rPr lang="fr-FR" dirty="0"/>
            <a:t>Emplois</a:t>
          </a:r>
        </a:p>
      </dgm:t>
    </dgm:pt>
    <dgm:pt modelId="{D3B05AC9-697B-4328-8CA9-81C3208C420B}" type="parTrans" cxnId="{9D384197-048A-4B99-98B8-55FCDDD3D617}">
      <dgm:prSet/>
      <dgm:spPr/>
      <dgm:t>
        <a:bodyPr/>
        <a:lstStyle/>
        <a:p>
          <a:endParaRPr lang="fr-FR"/>
        </a:p>
      </dgm:t>
    </dgm:pt>
    <dgm:pt modelId="{15BD97C9-B8C6-42C6-82E3-4FB7F85F5857}" type="sibTrans" cxnId="{9D384197-048A-4B99-98B8-55FCDDD3D617}">
      <dgm:prSet/>
      <dgm:spPr/>
      <dgm:t>
        <a:bodyPr/>
        <a:lstStyle/>
        <a:p>
          <a:endParaRPr lang="fr-FR"/>
        </a:p>
      </dgm:t>
    </dgm:pt>
    <dgm:pt modelId="{269AE4E5-4FE0-41EB-BF1B-8C79237AA149}">
      <dgm:prSet phldrT="[Texte]"/>
      <dgm:spPr/>
      <dgm:t>
        <a:bodyPr/>
        <a:lstStyle/>
        <a:p>
          <a:r>
            <a:rPr lang="fr-FR" dirty="0"/>
            <a:t>Banque</a:t>
          </a:r>
        </a:p>
      </dgm:t>
    </dgm:pt>
    <dgm:pt modelId="{A24D48A5-6433-4A4C-8A5A-F49DBF285171}" type="parTrans" cxnId="{FDEA3B68-EBB0-43D9-9CBB-194D9CB5C772}">
      <dgm:prSet/>
      <dgm:spPr/>
      <dgm:t>
        <a:bodyPr/>
        <a:lstStyle/>
        <a:p>
          <a:endParaRPr lang="fr-FR"/>
        </a:p>
      </dgm:t>
    </dgm:pt>
    <dgm:pt modelId="{DA687461-E6E4-4E66-BA48-14273A6B5DFC}" type="sibTrans" cxnId="{FDEA3B68-EBB0-43D9-9CBB-194D9CB5C772}">
      <dgm:prSet/>
      <dgm:spPr/>
      <dgm:t>
        <a:bodyPr/>
        <a:lstStyle/>
        <a:p>
          <a:endParaRPr lang="fr-FR"/>
        </a:p>
      </dgm:t>
    </dgm:pt>
    <dgm:pt modelId="{7CED1BAB-DE43-4059-8C3D-A8A0C8F0853F}">
      <dgm:prSet phldrT="[Texte]"/>
      <dgm:spPr/>
      <dgm:t>
        <a:bodyPr/>
        <a:lstStyle/>
        <a:p>
          <a:r>
            <a:rPr lang="fr-FR" dirty="0"/>
            <a:t>Ressources</a:t>
          </a:r>
        </a:p>
      </dgm:t>
    </dgm:pt>
    <dgm:pt modelId="{DB256077-C40F-40B9-ABB8-D1A7F446CEA5}" type="parTrans" cxnId="{453A030F-9F09-4B5A-9DBD-74C7C5EF20EF}">
      <dgm:prSet/>
      <dgm:spPr/>
      <dgm:t>
        <a:bodyPr/>
        <a:lstStyle/>
        <a:p>
          <a:endParaRPr lang="fr-FR"/>
        </a:p>
      </dgm:t>
    </dgm:pt>
    <dgm:pt modelId="{CD534BC3-274E-4F41-9801-476D6BADD165}" type="sibTrans" cxnId="{453A030F-9F09-4B5A-9DBD-74C7C5EF20EF}">
      <dgm:prSet/>
      <dgm:spPr/>
      <dgm:t>
        <a:bodyPr/>
        <a:lstStyle/>
        <a:p>
          <a:endParaRPr lang="fr-FR"/>
        </a:p>
      </dgm:t>
    </dgm:pt>
    <dgm:pt modelId="{2AB47A0E-C107-498D-A48C-0022EC195CB5}">
      <dgm:prSet phldrT="[Texte]"/>
      <dgm:spPr/>
      <dgm:t>
        <a:bodyPr/>
        <a:lstStyle/>
        <a:p>
          <a:r>
            <a:rPr lang="fr-FR" dirty="0"/>
            <a:t>Capital</a:t>
          </a:r>
        </a:p>
      </dgm:t>
    </dgm:pt>
    <dgm:pt modelId="{788741BE-72D8-4DD8-9AA6-5E7DAB4E036D}" type="parTrans" cxnId="{3FDE2406-B549-4899-809F-432C3DE7AC6F}">
      <dgm:prSet/>
      <dgm:spPr/>
      <dgm:t>
        <a:bodyPr/>
        <a:lstStyle/>
        <a:p>
          <a:endParaRPr lang="fr-FR"/>
        </a:p>
      </dgm:t>
    </dgm:pt>
    <dgm:pt modelId="{827AD9F3-E755-4A25-B6A3-C6998AE75C9B}" type="sibTrans" cxnId="{3FDE2406-B549-4899-809F-432C3DE7AC6F}">
      <dgm:prSet/>
      <dgm:spPr/>
      <dgm:t>
        <a:bodyPr/>
        <a:lstStyle/>
        <a:p>
          <a:endParaRPr lang="fr-FR"/>
        </a:p>
      </dgm:t>
    </dgm:pt>
    <dgm:pt modelId="{31FD8FA9-C56A-4CB6-B33B-4341ED0F6B44}" type="pres">
      <dgm:prSet presAssocID="{924DEDCA-198F-4BB8-9F9A-780A4E62517B}" presName="theList" presStyleCnt="0">
        <dgm:presLayoutVars>
          <dgm:dir/>
          <dgm:animLvl val="lvl"/>
          <dgm:resizeHandles val="exact"/>
        </dgm:presLayoutVars>
      </dgm:prSet>
      <dgm:spPr/>
    </dgm:pt>
    <dgm:pt modelId="{843DCFBE-8380-4FC4-AE68-543C5645A426}" type="pres">
      <dgm:prSet presAssocID="{4556B3D5-CE55-449C-9C77-C0B98B638A1E}" presName="compNode" presStyleCnt="0"/>
      <dgm:spPr/>
    </dgm:pt>
    <dgm:pt modelId="{0AB85DB6-AE50-4D8B-B838-D3746D1C3264}" type="pres">
      <dgm:prSet presAssocID="{4556B3D5-CE55-449C-9C77-C0B98B638A1E}" presName="aNode" presStyleLbl="bgShp" presStyleIdx="0" presStyleCnt="2"/>
      <dgm:spPr/>
    </dgm:pt>
    <dgm:pt modelId="{CE77D8A7-9BC8-4CB2-BD3A-37AE45891042}" type="pres">
      <dgm:prSet presAssocID="{4556B3D5-CE55-449C-9C77-C0B98B638A1E}" presName="textNode" presStyleLbl="bgShp" presStyleIdx="0" presStyleCnt="2"/>
      <dgm:spPr/>
    </dgm:pt>
    <dgm:pt modelId="{9EBC4F5A-792B-4BCF-AD1C-E87233DD65BA}" type="pres">
      <dgm:prSet presAssocID="{4556B3D5-CE55-449C-9C77-C0B98B638A1E}" presName="compChildNode" presStyleCnt="0"/>
      <dgm:spPr/>
    </dgm:pt>
    <dgm:pt modelId="{310BD682-D9C7-40C2-99E3-616F0F9C6A47}" type="pres">
      <dgm:prSet presAssocID="{4556B3D5-CE55-449C-9C77-C0B98B638A1E}" presName="theInnerList" presStyleCnt="0"/>
      <dgm:spPr/>
    </dgm:pt>
    <dgm:pt modelId="{1FE8760B-01DB-4F98-80E7-81B3A33E5F3E}" type="pres">
      <dgm:prSet presAssocID="{269AE4E5-4FE0-41EB-BF1B-8C79237AA149}" presName="childNode" presStyleLbl="node1" presStyleIdx="0" presStyleCnt="2">
        <dgm:presLayoutVars>
          <dgm:bulletEnabled val="1"/>
        </dgm:presLayoutVars>
      </dgm:prSet>
      <dgm:spPr/>
    </dgm:pt>
    <dgm:pt modelId="{152B85F0-9607-4A32-861F-D86B11E1BCF3}" type="pres">
      <dgm:prSet presAssocID="{4556B3D5-CE55-449C-9C77-C0B98B638A1E}" presName="aSpace" presStyleCnt="0"/>
      <dgm:spPr/>
    </dgm:pt>
    <dgm:pt modelId="{1D115012-AD75-4029-A5DE-0D259E5DE023}" type="pres">
      <dgm:prSet presAssocID="{7CED1BAB-DE43-4059-8C3D-A8A0C8F0853F}" presName="compNode" presStyleCnt="0"/>
      <dgm:spPr/>
    </dgm:pt>
    <dgm:pt modelId="{5B76F528-19BE-4755-A206-C97EFC097114}" type="pres">
      <dgm:prSet presAssocID="{7CED1BAB-DE43-4059-8C3D-A8A0C8F0853F}" presName="aNode" presStyleLbl="bgShp" presStyleIdx="1" presStyleCnt="2"/>
      <dgm:spPr/>
    </dgm:pt>
    <dgm:pt modelId="{D3746AA9-4714-4AF8-90BC-E66D0598D9E0}" type="pres">
      <dgm:prSet presAssocID="{7CED1BAB-DE43-4059-8C3D-A8A0C8F0853F}" presName="textNode" presStyleLbl="bgShp" presStyleIdx="1" presStyleCnt="2"/>
      <dgm:spPr/>
    </dgm:pt>
    <dgm:pt modelId="{9F101B07-2AB4-4D3B-BF45-3C0377D5F2A5}" type="pres">
      <dgm:prSet presAssocID="{7CED1BAB-DE43-4059-8C3D-A8A0C8F0853F}" presName="compChildNode" presStyleCnt="0"/>
      <dgm:spPr/>
    </dgm:pt>
    <dgm:pt modelId="{57F7CC05-4D13-431E-B5C1-77F520202213}" type="pres">
      <dgm:prSet presAssocID="{7CED1BAB-DE43-4059-8C3D-A8A0C8F0853F}" presName="theInnerList" presStyleCnt="0"/>
      <dgm:spPr/>
    </dgm:pt>
    <dgm:pt modelId="{A72A025E-4523-4BF3-BE55-F3A7FC9395EA}" type="pres">
      <dgm:prSet presAssocID="{2AB47A0E-C107-498D-A48C-0022EC195CB5}" presName="childNode" presStyleLbl="node1" presStyleIdx="1" presStyleCnt="2">
        <dgm:presLayoutVars>
          <dgm:bulletEnabled val="1"/>
        </dgm:presLayoutVars>
      </dgm:prSet>
      <dgm:spPr/>
    </dgm:pt>
  </dgm:ptLst>
  <dgm:cxnLst>
    <dgm:cxn modelId="{3FDE2406-B549-4899-809F-432C3DE7AC6F}" srcId="{7CED1BAB-DE43-4059-8C3D-A8A0C8F0853F}" destId="{2AB47A0E-C107-498D-A48C-0022EC195CB5}" srcOrd="0" destOrd="0" parTransId="{788741BE-72D8-4DD8-9AA6-5E7DAB4E036D}" sibTransId="{827AD9F3-E755-4A25-B6A3-C6998AE75C9B}"/>
    <dgm:cxn modelId="{453A030F-9F09-4B5A-9DBD-74C7C5EF20EF}" srcId="{924DEDCA-198F-4BB8-9F9A-780A4E62517B}" destId="{7CED1BAB-DE43-4059-8C3D-A8A0C8F0853F}" srcOrd="1" destOrd="0" parTransId="{DB256077-C40F-40B9-ABB8-D1A7F446CEA5}" sibTransId="{CD534BC3-274E-4F41-9801-476D6BADD165}"/>
    <dgm:cxn modelId="{B5EC931F-4103-4067-B3AB-245099412570}" type="presOf" srcId="{4556B3D5-CE55-449C-9C77-C0B98B638A1E}" destId="{CE77D8A7-9BC8-4CB2-BD3A-37AE45891042}" srcOrd="1" destOrd="0" presId="urn:microsoft.com/office/officeart/2005/8/layout/lProcess2"/>
    <dgm:cxn modelId="{3B616B31-0BBA-40D8-B698-EB237EA4F3DB}" type="presOf" srcId="{269AE4E5-4FE0-41EB-BF1B-8C79237AA149}" destId="{1FE8760B-01DB-4F98-80E7-81B3A33E5F3E}" srcOrd="0" destOrd="0" presId="urn:microsoft.com/office/officeart/2005/8/layout/lProcess2"/>
    <dgm:cxn modelId="{9B479D3A-D4A8-4EC8-9B9B-84DE0849B00D}" type="presOf" srcId="{7CED1BAB-DE43-4059-8C3D-A8A0C8F0853F}" destId="{D3746AA9-4714-4AF8-90BC-E66D0598D9E0}" srcOrd="1" destOrd="0" presId="urn:microsoft.com/office/officeart/2005/8/layout/lProcess2"/>
    <dgm:cxn modelId="{0A9E0861-5687-498F-8D4C-2D82397CF805}" type="presOf" srcId="{924DEDCA-198F-4BB8-9F9A-780A4E62517B}" destId="{31FD8FA9-C56A-4CB6-B33B-4341ED0F6B44}" srcOrd="0" destOrd="0" presId="urn:microsoft.com/office/officeart/2005/8/layout/lProcess2"/>
    <dgm:cxn modelId="{FDEA3B68-EBB0-43D9-9CBB-194D9CB5C772}" srcId="{4556B3D5-CE55-449C-9C77-C0B98B638A1E}" destId="{269AE4E5-4FE0-41EB-BF1B-8C79237AA149}" srcOrd="0" destOrd="0" parTransId="{A24D48A5-6433-4A4C-8A5A-F49DBF285171}" sibTransId="{DA687461-E6E4-4E66-BA48-14273A6B5DFC}"/>
    <dgm:cxn modelId="{06C1CD70-32C3-46C1-B54A-34DBA76DAF08}" type="presOf" srcId="{2AB47A0E-C107-498D-A48C-0022EC195CB5}" destId="{A72A025E-4523-4BF3-BE55-F3A7FC9395EA}" srcOrd="0" destOrd="0" presId="urn:microsoft.com/office/officeart/2005/8/layout/lProcess2"/>
    <dgm:cxn modelId="{50854857-E0CC-42AF-8A1C-9A5E0C5233AC}" type="presOf" srcId="{4556B3D5-CE55-449C-9C77-C0B98B638A1E}" destId="{0AB85DB6-AE50-4D8B-B838-D3746D1C3264}" srcOrd="0" destOrd="0" presId="urn:microsoft.com/office/officeart/2005/8/layout/lProcess2"/>
    <dgm:cxn modelId="{9D384197-048A-4B99-98B8-55FCDDD3D617}" srcId="{924DEDCA-198F-4BB8-9F9A-780A4E62517B}" destId="{4556B3D5-CE55-449C-9C77-C0B98B638A1E}" srcOrd="0" destOrd="0" parTransId="{D3B05AC9-697B-4328-8CA9-81C3208C420B}" sibTransId="{15BD97C9-B8C6-42C6-82E3-4FB7F85F5857}"/>
    <dgm:cxn modelId="{E44A8EF9-89EB-4237-9808-9618F0A83CD6}" type="presOf" srcId="{7CED1BAB-DE43-4059-8C3D-A8A0C8F0853F}" destId="{5B76F528-19BE-4755-A206-C97EFC097114}" srcOrd="0" destOrd="0" presId="urn:microsoft.com/office/officeart/2005/8/layout/lProcess2"/>
    <dgm:cxn modelId="{E0BB9660-E5CF-4575-B499-DCB027FBB2CC}" type="presParOf" srcId="{31FD8FA9-C56A-4CB6-B33B-4341ED0F6B44}" destId="{843DCFBE-8380-4FC4-AE68-543C5645A426}" srcOrd="0" destOrd="0" presId="urn:microsoft.com/office/officeart/2005/8/layout/lProcess2"/>
    <dgm:cxn modelId="{1EDB87A7-9EA8-456D-A95A-BC377A4959A4}" type="presParOf" srcId="{843DCFBE-8380-4FC4-AE68-543C5645A426}" destId="{0AB85DB6-AE50-4D8B-B838-D3746D1C3264}" srcOrd="0" destOrd="0" presId="urn:microsoft.com/office/officeart/2005/8/layout/lProcess2"/>
    <dgm:cxn modelId="{797F65CD-1686-47BA-9BD2-F3023286E422}" type="presParOf" srcId="{843DCFBE-8380-4FC4-AE68-543C5645A426}" destId="{CE77D8A7-9BC8-4CB2-BD3A-37AE45891042}" srcOrd="1" destOrd="0" presId="urn:microsoft.com/office/officeart/2005/8/layout/lProcess2"/>
    <dgm:cxn modelId="{F70CE3F4-5A3F-40B6-B04C-D5B69E1BBB87}" type="presParOf" srcId="{843DCFBE-8380-4FC4-AE68-543C5645A426}" destId="{9EBC4F5A-792B-4BCF-AD1C-E87233DD65BA}" srcOrd="2" destOrd="0" presId="urn:microsoft.com/office/officeart/2005/8/layout/lProcess2"/>
    <dgm:cxn modelId="{BC266C8C-01CB-4AD9-B707-080449E9B214}" type="presParOf" srcId="{9EBC4F5A-792B-4BCF-AD1C-E87233DD65BA}" destId="{310BD682-D9C7-40C2-99E3-616F0F9C6A47}" srcOrd="0" destOrd="0" presId="urn:microsoft.com/office/officeart/2005/8/layout/lProcess2"/>
    <dgm:cxn modelId="{A38ACD32-345F-4C46-A0D2-C7E93AB6A5E9}" type="presParOf" srcId="{310BD682-D9C7-40C2-99E3-616F0F9C6A47}" destId="{1FE8760B-01DB-4F98-80E7-81B3A33E5F3E}" srcOrd="0" destOrd="0" presId="urn:microsoft.com/office/officeart/2005/8/layout/lProcess2"/>
    <dgm:cxn modelId="{1119669A-6EF7-4D11-B4EE-E37CF0D12A30}" type="presParOf" srcId="{31FD8FA9-C56A-4CB6-B33B-4341ED0F6B44}" destId="{152B85F0-9607-4A32-861F-D86B11E1BCF3}" srcOrd="1" destOrd="0" presId="urn:microsoft.com/office/officeart/2005/8/layout/lProcess2"/>
    <dgm:cxn modelId="{465851FF-7C36-4197-8EA8-423C53056A56}" type="presParOf" srcId="{31FD8FA9-C56A-4CB6-B33B-4341ED0F6B44}" destId="{1D115012-AD75-4029-A5DE-0D259E5DE023}" srcOrd="2" destOrd="0" presId="urn:microsoft.com/office/officeart/2005/8/layout/lProcess2"/>
    <dgm:cxn modelId="{A1EC7D07-E9ED-4327-B8D9-7752BD71A6CA}" type="presParOf" srcId="{1D115012-AD75-4029-A5DE-0D259E5DE023}" destId="{5B76F528-19BE-4755-A206-C97EFC097114}" srcOrd="0" destOrd="0" presId="urn:microsoft.com/office/officeart/2005/8/layout/lProcess2"/>
    <dgm:cxn modelId="{A9123ACC-A2CC-4543-80BC-EB1B13C490CE}" type="presParOf" srcId="{1D115012-AD75-4029-A5DE-0D259E5DE023}" destId="{D3746AA9-4714-4AF8-90BC-E66D0598D9E0}" srcOrd="1" destOrd="0" presId="urn:microsoft.com/office/officeart/2005/8/layout/lProcess2"/>
    <dgm:cxn modelId="{B1C0F2A5-DABD-40D0-AEC3-3CBD8D1C97EF}" type="presParOf" srcId="{1D115012-AD75-4029-A5DE-0D259E5DE023}" destId="{9F101B07-2AB4-4D3B-BF45-3C0377D5F2A5}" srcOrd="2" destOrd="0" presId="urn:microsoft.com/office/officeart/2005/8/layout/lProcess2"/>
    <dgm:cxn modelId="{67372F8D-23EC-453C-924D-51A0A5049A35}" type="presParOf" srcId="{9F101B07-2AB4-4D3B-BF45-3C0377D5F2A5}" destId="{57F7CC05-4D13-431E-B5C1-77F520202213}" srcOrd="0" destOrd="0" presId="urn:microsoft.com/office/officeart/2005/8/layout/lProcess2"/>
    <dgm:cxn modelId="{160F9D78-C6A6-4186-AD41-884496212210}" type="presParOf" srcId="{57F7CC05-4D13-431E-B5C1-77F520202213}" destId="{A72A025E-4523-4BF3-BE55-F3A7FC9395EA}" srcOrd="0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BE0C5915-3C43-47D6-AFED-362633A2C26C}" type="doc">
      <dgm:prSet loTypeId="urn:microsoft.com/office/officeart/2008/layout/RadialCluster" loCatId="relationship" qsTypeId="urn:microsoft.com/office/officeart/2005/8/quickstyle/3d1" qsCatId="3D" csTypeId="urn:microsoft.com/office/officeart/2005/8/colors/colorful1#1" csCatId="colorful" phldr="1"/>
      <dgm:spPr/>
      <dgm:t>
        <a:bodyPr/>
        <a:lstStyle/>
        <a:p>
          <a:endParaRPr lang="fr-FR"/>
        </a:p>
      </dgm:t>
    </dgm:pt>
    <dgm:pt modelId="{DDC60466-F46C-453E-AC2A-6E1674B16E15}">
      <dgm:prSet phldrT="[Texte]"/>
      <dgm:spPr/>
      <dgm:t>
        <a:bodyPr/>
        <a:lstStyle/>
        <a:p>
          <a:r>
            <a:rPr lang="fr-FR" dirty="0"/>
            <a:t>Où va l’argent ?</a:t>
          </a:r>
        </a:p>
      </dgm:t>
    </dgm:pt>
    <dgm:pt modelId="{7853F94D-64AE-4A1C-88E3-1A1914EDC196}" type="parTrans" cxnId="{CF007145-02D0-4133-95ED-F9FAFA2C4F6C}">
      <dgm:prSet/>
      <dgm:spPr/>
      <dgm:t>
        <a:bodyPr/>
        <a:lstStyle/>
        <a:p>
          <a:endParaRPr lang="fr-FR"/>
        </a:p>
      </dgm:t>
    </dgm:pt>
    <dgm:pt modelId="{78E91BB1-6DFE-4976-8A41-0262083FEB5F}" type="sibTrans" cxnId="{CF007145-02D0-4133-95ED-F9FAFA2C4F6C}">
      <dgm:prSet/>
      <dgm:spPr/>
      <dgm:t>
        <a:bodyPr/>
        <a:lstStyle/>
        <a:p>
          <a:endParaRPr lang="fr-FR"/>
        </a:p>
      </dgm:t>
    </dgm:pt>
    <dgm:pt modelId="{F8F02183-059D-4F65-9917-141C2A1D5502}">
      <dgm:prSet phldrT="[Texte]"/>
      <dgm:spPr/>
      <dgm:t>
        <a:bodyPr/>
        <a:lstStyle/>
        <a:p>
          <a:r>
            <a:rPr lang="fr-FR" dirty="0"/>
            <a:t>Immos</a:t>
          </a:r>
        </a:p>
      </dgm:t>
    </dgm:pt>
    <dgm:pt modelId="{32C554BE-F84E-439E-859C-98765BB7900C}" type="parTrans" cxnId="{A04FE4F5-AC55-4B5C-88C3-117B8CDC68F5}">
      <dgm:prSet/>
      <dgm:spPr/>
      <dgm:t>
        <a:bodyPr/>
        <a:lstStyle/>
        <a:p>
          <a:endParaRPr lang="fr-FR"/>
        </a:p>
      </dgm:t>
    </dgm:pt>
    <dgm:pt modelId="{D9B72CC2-CF64-4D65-807F-39D778D9895B}" type="sibTrans" cxnId="{A04FE4F5-AC55-4B5C-88C3-117B8CDC68F5}">
      <dgm:prSet/>
      <dgm:spPr/>
      <dgm:t>
        <a:bodyPr/>
        <a:lstStyle/>
        <a:p>
          <a:endParaRPr lang="fr-FR"/>
        </a:p>
      </dgm:t>
    </dgm:pt>
    <dgm:pt modelId="{E7459625-3E7B-414D-BAD3-F4B19966F367}">
      <dgm:prSet phldrT="[Texte]"/>
      <dgm:spPr/>
      <dgm:t>
        <a:bodyPr/>
        <a:lstStyle/>
        <a:p>
          <a:r>
            <a:rPr lang="fr-FR" dirty="0"/>
            <a:t>Stock</a:t>
          </a:r>
        </a:p>
      </dgm:t>
    </dgm:pt>
    <dgm:pt modelId="{44E3DCC0-C648-4244-93EC-832FAA1EA180}" type="parTrans" cxnId="{4C3C8695-ECFE-4752-A4F4-04D1F9D677F6}">
      <dgm:prSet/>
      <dgm:spPr/>
      <dgm:t>
        <a:bodyPr/>
        <a:lstStyle/>
        <a:p>
          <a:endParaRPr lang="fr-FR"/>
        </a:p>
      </dgm:t>
    </dgm:pt>
    <dgm:pt modelId="{59724375-9E17-4419-A70E-4DF92196643B}" type="sibTrans" cxnId="{4C3C8695-ECFE-4752-A4F4-04D1F9D677F6}">
      <dgm:prSet/>
      <dgm:spPr/>
      <dgm:t>
        <a:bodyPr/>
        <a:lstStyle/>
        <a:p>
          <a:endParaRPr lang="fr-FR"/>
        </a:p>
      </dgm:t>
    </dgm:pt>
    <dgm:pt modelId="{11FE854E-1BEA-4B4B-B823-DF7E1957D28B}">
      <dgm:prSet phldrT="[Texte]"/>
      <dgm:spPr/>
      <dgm:t>
        <a:bodyPr/>
        <a:lstStyle/>
        <a:p>
          <a:r>
            <a:rPr lang="fr-FR" dirty="0"/>
            <a:t>Clients</a:t>
          </a:r>
        </a:p>
      </dgm:t>
    </dgm:pt>
    <dgm:pt modelId="{233C618D-6FC8-45CE-A3DC-1322AF9C4AE0}" type="parTrans" cxnId="{C4BF9868-6F63-46A6-A3FC-DCAF9971AB96}">
      <dgm:prSet/>
      <dgm:spPr/>
      <dgm:t>
        <a:bodyPr/>
        <a:lstStyle/>
        <a:p>
          <a:endParaRPr lang="fr-FR"/>
        </a:p>
      </dgm:t>
    </dgm:pt>
    <dgm:pt modelId="{146CFEA2-C996-4742-A5C1-C6B3CE4B3ADC}" type="sibTrans" cxnId="{C4BF9868-6F63-46A6-A3FC-DCAF9971AB96}">
      <dgm:prSet/>
      <dgm:spPr/>
      <dgm:t>
        <a:bodyPr/>
        <a:lstStyle/>
        <a:p>
          <a:endParaRPr lang="fr-FR"/>
        </a:p>
      </dgm:t>
    </dgm:pt>
    <dgm:pt modelId="{2727182D-33B4-46D5-AC8C-6D428E0023CF}">
      <dgm:prSet phldrT="[Texte]"/>
      <dgm:spPr/>
      <dgm:t>
        <a:bodyPr/>
        <a:lstStyle/>
        <a:p>
          <a:r>
            <a:rPr lang="fr-FR" dirty="0"/>
            <a:t>Caisse</a:t>
          </a:r>
        </a:p>
      </dgm:t>
    </dgm:pt>
    <dgm:pt modelId="{6D42B0EF-4FC9-4BAB-AA66-FE5FBE232A38}" type="parTrans" cxnId="{012E3DF5-9450-430A-8669-EFD01F02B7C2}">
      <dgm:prSet/>
      <dgm:spPr/>
      <dgm:t>
        <a:bodyPr/>
        <a:lstStyle/>
        <a:p>
          <a:endParaRPr lang="fr-FR"/>
        </a:p>
      </dgm:t>
    </dgm:pt>
    <dgm:pt modelId="{308BFC57-8CC7-4B0C-9C95-F915396D48CD}" type="sibTrans" cxnId="{012E3DF5-9450-430A-8669-EFD01F02B7C2}">
      <dgm:prSet/>
      <dgm:spPr/>
      <dgm:t>
        <a:bodyPr/>
        <a:lstStyle/>
        <a:p>
          <a:endParaRPr lang="fr-FR"/>
        </a:p>
      </dgm:t>
    </dgm:pt>
    <dgm:pt modelId="{6DF41175-8432-416F-A446-8502FBA68ACD}" type="pres">
      <dgm:prSet presAssocID="{BE0C5915-3C43-47D6-AFED-362633A2C26C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</dgm:pt>
    <dgm:pt modelId="{904F0DAC-57D6-4456-99D3-49385AACF57F}" type="pres">
      <dgm:prSet presAssocID="{DDC60466-F46C-453E-AC2A-6E1674B16E15}" presName="singleCycle" presStyleCnt="0"/>
      <dgm:spPr/>
    </dgm:pt>
    <dgm:pt modelId="{41B849FB-EAD0-4444-B471-9965F7A844A5}" type="pres">
      <dgm:prSet presAssocID="{DDC60466-F46C-453E-AC2A-6E1674B16E15}" presName="singleCenter" presStyleLbl="node1" presStyleIdx="0" presStyleCnt="5">
        <dgm:presLayoutVars>
          <dgm:chMax val="7"/>
          <dgm:chPref val="7"/>
        </dgm:presLayoutVars>
      </dgm:prSet>
      <dgm:spPr/>
    </dgm:pt>
    <dgm:pt modelId="{91984521-9003-459F-A2C4-2AC69BD89A72}" type="pres">
      <dgm:prSet presAssocID="{32C554BE-F84E-439E-859C-98765BB7900C}" presName="Name56" presStyleLbl="parChTrans1D2" presStyleIdx="0" presStyleCnt="4"/>
      <dgm:spPr/>
    </dgm:pt>
    <dgm:pt modelId="{0BED5604-EEFD-4C4A-9AD8-7B14618D1D57}" type="pres">
      <dgm:prSet presAssocID="{F8F02183-059D-4F65-9917-141C2A1D5502}" presName="text0" presStyleLbl="node1" presStyleIdx="1" presStyleCnt="5">
        <dgm:presLayoutVars>
          <dgm:bulletEnabled val="1"/>
        </dgm:presLayoutVars>
      </dgm:prSet>
      <dgm:spPr/>
    </dgm:pt>
    <dgm:pt modelId="{424A11D4-4363-423A-B157-C18B101205ED}" type="pres">
      <dgm:prSet presAssocID="{44E3DCC0-C648-4244-93EC-832FAA1EA180}" presName="Name56" presStyleLbl="parChTrans1D2" presStyleIdx="1" presStyleCnt="4"/>
      <dgm:spPr/>
    </dgm:pt>
    <dgm:pt modelId="{3FA7C0E1-D056-4C33-9360-AC5C4B9C8D6E}" type="pres">
      <dgm:prSet presAssocID="{E7459625-3E7B-414D-BAD3-F4B19966F367}" presName="text0" presStyleLbl="node1" presStyleIdx="2" presStyleCnt="5">
        <dgm:presLayoutVars>
          <dgm:bulletEnabled val="1"/>
        </dgm:presLayoutVars>
      </dgm:prSet>
      <dgm:spPr/>
    </dgm:pt>
    <dgm:pt modelId="{70DB37F1-98CC-45D6-999F-4AFB80ED0D7C}" type="pres">
      <dgm:prSet presAssocID="{233C618D-6FC8-45CE-A3DC-1322AF9C4AE0}" presName="Name56" presStyleLbl="parChTrans1D2" presStyleIdx="2" presStyleCnt="4"/>
      <dgm:spPr/>
    </dgm:pt>
    <dgm:pt modelId="{78979B5D-F006-4118-8B8F-DD3D31EB1E89}" type="pres">
      <dgm:prSet presAssocID="{11FE854E-1BEA-4B4B-B823-DF7E1957D28B}" presName="text0" presStyleLbl="node1" presStyleIdx="3" presStyleCnt="5">
        <dgm:presLayoutVars>
          <dgm:bulletEnabled val="1"/>
        </dgm:presLayoutVars>
      </dgm:prSet>
      <dgm:spPr/>
    </dgm:pt>
    <dgm:pt modelId="{FD20C393-2AD0-4628-84FB-D884B787FEEE}" type="pres">
      <dgm:prSet presAssocID="{6D42B0EF-4FC9-4BAB-AA66-FE5FBE232A38}" presName="Name56" presStyleLbl="parChTrans1D2" presStyleIdx="3" presStyleCnt="4"/>
      <dgm:spPr/>
    </dgm:pt>
    <dgm:pt modelId="{4DAC4830-69A7-494B-AAE2-23595A1E6597}" type="pres">
      <dgm:prSet presAssocID="{2727182D-33B4-46D5-AC8C-6D428E0023CF}" presName="text0" presStyleLbl="node1" presStyleIdx="4" presStyleCnt="5">
        <dgm:presLayoutVars>
          <dgm:bulletEnabled val="1"/>
        </dgm:presLayoutVars>
      </dgm:prSet>
      <dgm:spPr/>
    </dgm:pt>
  </dgm:ptLst>
  <dgm:cxnLst>
    <dgm:cxn modelId="{F5A96A15-5D04-4602-B97A-F95A6DD67D26}" type="presOf" srcId="{11FE854E-1BEA-4B4B-B823-DF7E1957D28B}" destId="{78979B5D-F006-4118-8B8F-DD3D31EB1E89}" srcOrd="0" destOrd="0" presId="urn:microsoft.com/office/officeart/2008/layout/RadialCluster"/>
    <dgm:cxn modelId="{BBA9B618-5872-4945-82B8-78C6E9F69E84}" type="presOf" srcId="{44E3DCC0-C648-4244-93EC-832FAA1EA180}" destId="{424A11D4-4363-423A-B157-C18B101205ED}" srcOrd="0" destOrd="0" presId="urn:microsoft.com/office/officeart/2008/layout/RadialCluster"/>
    <dgm:cxn modelId="{7E83561B-8186-4EFE-8437-1CE8D38ED683}" type="presOf" srcId="{6D42B0EF-4FC9-4BAB-AA66-FE5FBE232A38}" destId="{FD20C393-2AD0-4628-84FB-D884B787FEEE}" srcOrd="0" destOrd="0" presId="urn:microsoft.com/office/officeart/2008/layout/RadialCluster"/>
    <dgm:cxn modelId="{010F8828-EC51-47CF-BF2D-EFB7B0288642}" type="presOf" srcId="{32C554BE-F84E-439E-859C-98765BB7900C}" destId="{91984521-9003-459F-A2C4-2AC69BD89A72}" srcOrd="0" destOrd="0" presId="urn:microsoft.com/office/officeart/2008/layout/RadialCluster"/>
    <dgm:cxn modelId="{CF007145-02D0-4133-95ED-F9FAFA2C4F6C}" srcId="{BE0C5915-3C43-47D6-AFED-362633A2C26C}" destId="{DDC60466-F46C-453E-AC2A-6E1674B16E15}" srcOrd="0" destOrd="0" parTransId="{7853F94D-64AE-4A1C-88E3-1A1914EDC196}" sibTransId="{78E91BB1-6DFE-4976-8A41-0262083FEB5F}"/>
    <dgm:cxn modelId="{F22AA445-ABC6-495B-8D4D-487D2E753250}" type="presOf" srcId="{233C618D-6FC8-45CE-A3DC-1322AF9C4AE0}" destId="{70DB37F1-98CC-45D6-999F-4AFB80ED0D7C}" srcOrd="0" destOrd="0" presId="urn:microsoft.com/office/officeart/2008/layout/RadialCluster"/>
    <dgm:cxn modelId="{E1601567-F5E9-4B7F-909C-D51CFEEA1B8F}" type="presOf" srcId="{F8F02183-059D-4F65-9917-141C2A1D5502}" destId="{0BED5604-EEFD-4C4A-9AD8-7B14618D1D57}" srcOrd="0" destOrd="0" presId="urn:microsoft.com/office/officeart/2008/layout/RadialCluster"/>
    <dgm:cxn modelId="{C4BF9868-6F63-46A6-A3FC-DCAF9971AB96}" srcId="{DDC60466-F46C-453E-AC2A-6E1674B16E15}" destId="{11FE854E-1BEA-4B4B-B823-DF7E1957D28B}" srcOrd="2" destOrd="0" parTransId="{233C618D-6FC8-45CE-A3DC-1322AF9C4AE0}" sibTransId="{146CFEA2-C996-4742-A5C1-C6B3CE4B3ADC}"/>
    <dgm:cxn modelId="{D9113178-B47F-4BB1-BC96-7D3AF1446601}" type="presOf" srcId="{E7459625-3E7B-414D-BAD3-F4B19966F367}" destId="{3FA7C0E1-D056-4C33-9360-AC5C4B9C8D6E}" srcOrd="0" destOrd="0" presId="urn:microsoft.com/office/officeart/2008/layout/RadialCluster"/>
    <dgm:cxn modelId="{2F607D85-9E98-4722-9D23-FB2CA7F22B33}" type="presOf" srcId="{2727182D-33B4-46D5-AC8C-6D428E0023CF}" destId="{4DAC4830-69A7-494B-AAE2-23595A1E6597}" srcOrd="0" destOrd="0" presId="urn:microsoft.com/office/officeart/2008/layout/RadialCluster"/>
    <dgm:cxn modelId="{4C3C8695-ECFE-4752-A4F4-04D1F9D677F6}" srcId="{DDC60466-F46C-453E-AC2A-6E1674B16E15}" destId="{E7459625-3E7B-414D-BAD3-F4B19966F367}" srcOrd="1" destOrd="0" parTransId="{44E3DCC0-C648-4244-93EC-832FAA1EA180}" sibTransId="{59724375-9E17-4419-A70E-4DF92196643B}"/>
    <dgm:cxn modelId="{AB9AE1AF-444A-451D-884A-023F38FE4476}" type="presOf" srcId="{BE0C5915-3C43-47D6-AFED-362633A2C26C}" destId="{6DF41175-8432-416F-A446-8502FBA68ACD}" srcOrd="0" destOrd="0" presId="urn:microsoft.com/office/officeart/2008/layout/RadialCluster"/>
    <dgm:cxn modelId="{1105FAF2-FD7A-4C8A-BD5B-E827F418C0A7}" type="presOf" srcId="{DDC60466-F46C-453E-AC2A-6E1674B16E15}" destId="{41B849FB-EAD0-4444-B471-9965F7A844A5}" srcOrd="0" destOrd="0" presId="urn:microsoft.com/office/officeart/2008/layout/RadialCluster"/>
    <dgm:cxn modelId="{012E3DF5-9450-430A-8669-EFD01F02B7C2}" srcId="{DDC60466-F46C-453E-AC2A-6E1674B16E15}" destId="{2727182D-33B4-46D5-AC8C-6D428E0023CF}" srcOrd="3" destOrd="0" parTransId="{6D42B0EF-4FC9-4BAB-AA66-FE5FBE232A38}" sibTransId="{308BFC57-8CC7-4B0C-9C95-F915396D48CD}"/>
    <dgm:cxn modelId="{A04FE4F5-AC55-4B5C-88C3-117B8CDC68F5}" srcId="{DDC60466-F46C-453E-AC2A-6E1674B16E15}" destId="{F8F02183-059D-4F65-9917-141C2A1D5502}" srcOrd="0" destOrd="0" parTransId="{32C554BE-F84E-439E-859C-98765BB7900C}" sibTransId="{D9B72CC2-CF64-4D65-807F-39D778D9895B}"/>
    <dgm:cxn modelId="{DC188766-CB81-4BF8-9BB7-55D6E20A6298}" type="presParOf" srcId="{6DF41175-8432-416F-A446-8502FBA68ACD}" destId="{904F0DAC-57D6-4456-99D3-49385AACF57F}" srcOrd="0" destOrd="0" presId="urn:microsoft.com/office/officeart/2008/layout/RadialCluster"/>
    <dgm:cxn modelId="{A139414A-F376-44BC-813E-F8F9CA352CFE}" type="presParOf" srcId="{904F0DAC-57D6-4456-99D3-49385AACF57F}" destId="{41B849FB-EAD0-4444-B471-9965F7A844A5}" srcOrd="0" destOrd="0" presId="urn:microsoft.com/office/officeart/2008/layout/RadialCluster"/>
    <dgm:cxn modelId="{98B11246-807B-43FA-BA70-6EE53ACF6E77}" type="presParOf" srcId="{904F0DAC-57D6-4456-99D3-49385AACF57F}" destId="{91984521-9003-459F-A2C4-2AC69BD89A72}" srcOrd="1" destOrd="0" presId="urn:microsoft.com/office/officeart/2008/layout/RadialCluster"/>
    <dgm:cxn modelId="{DC017EBE-774C-4486-B1CC-9C7BA5C2495A}" type="presParOf" srcId="{904F0DAC-57D6-4456-99D3-49385AACF57F}" destId="{0BED5604-EEFD-4C4A-9AD8-7B14618D1D57}" srcOrd="2" destOrd="0" presId="urn:microsoft.com/office/officeart/2008/layout/RadialCluster"/>
    <dgm:cxn modelId="{0374C78C-DA9F-455C-A7F9-B7467C6343C4}" type="presParOf" srcId="{904F0DAC-57D6-4456-99D3-49385AACF57F}" destId="{424A11D4-4363-423A-B157-C18B101205ED}" srcOrd="3" destOrd="0" presId="urn:microsoft.com/office/officeart/2008/layout/RadialCluster"/>
    <dgm:cxn modelId="{77E7272D-95C2-452E-941B-7B3E3DF035C5}" type="presParOf" srcId="{904F0DAC-57D6-4456-99D3-49385AACF57F}" destId="{3FA7C0E1-D056-4C33-9360-AC5C4B9C8D6E}" srcOrd="4" destOrd="0" presId="urn:microsoft.com/office/officeart/2008/layout/RadialCluster"/>
    <dgm:cxn modelId="{B2F228D2-E00C-47F9-9AC5-F468D86AC9B8}" type="presParOf" srcId="{904F0DAC-57D6-4456-99D3-49385AACF57F}" destId="{70DB37F1-98CC-45D6-999F-4AFB80ED0D7C}" srcOrd="5" destOrd="0" presId="urn:microsoft.com/office/officeart/2008/layout/RadialCluster"/>
    <dgm:cxn modelId="{39336A7C-CD1A-4BD9-89E6-74A525AD7069}" type="presParOf" srcId="{904F0DAC-57D6-4456-99D3-49385AACF57F}" destId="{78979B5D-F006-4118-8B8F-DD3D31EB1E89}" srcOrd="6" destOrd="0" presId="urn:microsoft.com/office/officeart/2008/layout/RadialCluster"/>
    <dgm:cxn modelId="{8C51086B-8965-46D3-874E-3CF730AB9451}" type="presParOf" srcId="{904F0DAC-57D6-4456-99D3-49385AACF57F}" destId="{FD20C393-2AD0-4628-84FB-D884B787FEEE}" srcOrd="7" destOrd="0" presId="urn:microsoft.com/office/officeart/2008/layout/RadialCluster"/>
    <dgm:cxn modelId="{140599C4-A96B-4824-929E-25A057ABBF99}" type="presParOf" srcId="{904F0DAC-57D6-4456-99D3-49385AACF57F}" destId="{4DAC4830-69A7-494B-AAE2-23595A1E6597}" srcOrd="8" destOrd="0" presId="urn:microsoft.com/office/officeart/2008/layout/RadialCluster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BE0C5915-3C43-47D6-AFED-362633A2C26C}" type="doc">
      <dgm:prSet loTypeId="urn:microsoft.com/office/officeart/2008/layout/RadialCluster" loCatId="relationship" qsTypeId="urn:microsoft.com/office/officeart/2005/8/quickstyle/3d1" qsCatId="3D" csTypeId="urn:microsoft.com/office/officeart/2005/8/colors/colorful1#2" csCatId="colorful" phldr="1"/>
      <dgm:spPr/>
      <dgm:t>
        <a:bodyPr/>
        <a:lstStyle/>
        <a:p>
          <a:endParaRPr lang="fr-FR"/>
        </a:p>
      </dgm:t>
    </dgm:pt>
    <dgm:pt modelId="{DDC60466-F46C-453E-AC2A-6E1674B16E15}">
      <dgm:prSet phldrT="[Texte]"/>
      <dgm:spPr/>
      <dgm:t>
        <a:bodyPr/>
        <a:lstStyle/>
        <a:p>
          <a:r>
            <a:rPr lang="fr-FR" dirty="0"/>
            <a:t>D’où vient l’argent ?</a:t>
          </a:r>
        </a:p>
      </dgm:t>
    </dgm:pt>
    <dgm:pt modelId="{7853F94D-64AE-4A1C-88E3-1A1914EDC196}" type="parTrans" cxnId="{CF007145-02D0-4133-95ED-F9FAFA2C4F6C}">
      <dgm:prSet/>
      <dgm:spPr/>
      <dgm:t>
        <a:bodyPr/>
        <a:lstStyle/>
        <a:p>
          <a:endParaRPr lang="fr-FR"/>
        </a:p>
      </dgm:t>
    </dgm:pt>
    <dgm:pt modelId="{78E91BB1-6DFE-4976-8A41-0262083FEB5F}" type="sibTrans" cxnId="{CF007145-02D0-4133-95ED-F9FAFA2C4F6C}">
      <dgm:prSet/>
      <dgm:spPr/>
      <dgm:t>
        <a:bodyPr/>
        <a:lstStyle/>
        <a:p>
          <a:endParaRPr lang="fr-FR"/>
        </a:p>
      </dgm:t>
    </dgm:pt>
    <dgm:pt modelId="{F8F02183-059D-4F65-9917-141C2A1D5502}">
      <dgm:prSet phldrT="[Texte]"/>
      <dgm:spPr/>
      <dgm:t>
        <a:bodyPr/>
        <a:lstStyle/>
        <a:p>
          <a:r>
            <a:rPr lang="fr-FR" dirty="0"/>
            <a:t>Capital</a:t>
          </a:r>
        </a:p>
      </dgm:t>
    </dgm:pt>
    <dgm:pt modelId="{32C554BE-F84E-439E-859C-98765BB7900C}" type="parTrans" cxnId="{A04FE4F5-AC55-4B5C-88C3-117B8CDC68F5}">
      <dgm:prSet/>
      <dgm:spPr/>
      <dgm:t>
        <a:bodyPr/>
        <a:lstStyle/>
        <a:p>
          <a:endParaRPr lang="fr-FR"/>
        </a:p>
      </dgm:t>
    </dgm:pt>
    <dgm:pt modelId="{D9B72CC2-CF64-4D65-807F-39D778D9895B}" type="sibTrans" cxnId="{A04FE4F5-AC55-4B5C-88C3-117B8CDC68F5}">
      <dgm:prSet/>
      <dgm:spPr/>
      <dgm:t>
        <a:bodyPr/>
        <a:lstStyle/>
        <a:p>
          <a:endParaRPr lang="fr-FR"/>
        </a:p>
      </dgm:t>
    </dgm:pt>
    <dgm:pt modelId="{E7459625-3E7B-414D-BAD3-F4B19966F367}">
      <dgm:prSet phldrT="[Texte]"/>
      <dgm:spPr/>
      <dgm:t>
        <a:bodyPr/>
        <a:lstStyle/>
        <a:p>
          <a:r>
            <a:rPr lang="fr-FR" dirty="0"/>
            <a:t>Résultat</a:t>
          </a:r>
        </a:p>
      </dgm:t>
    </dgm:pt>
    <dgm:pt modelId="{44E3DCC0-C648-4244-93EC-832FAA1EA180}" type="parTrans" cxnId="{4C3C8695-ECFE-4752-A4F4-04D1F9D677F6}">
      <dgm:prSet/>
      <dgm:spPr/>
      <dgm:t>
        <a:bodyPr/>
        <a:lstStyle/>
        <a:p>
          <a:endParaRPr lang="fr-FR"/>
        </a:p>
      </dgm:t>
    </dgm:pt>
    <dgm:pt modelId="{59724375-9E17-4419-A70E-4DF92196643B}" type="sibTrans" cxnId="{4C3C8695-ECFE-4752-A4F4-04D1F9D677F6}">
      <dgm:prSet/>
      <dgm:spPr/>
      <dgm:t>
        <a:bodyPr/>
        <a:lstStyle/>
        <a:p>
          <a:endParaRPr lang="fr-FR"/>
        </a:p>
      </dgm:t>
    </dgm:pt>
    <dgm:pt modelId="{11FE854E-1BEA-4B4B-B823-DF7E1957D28B}">
      <dgm:prSet phldrT="[Texte]"/>
      <dgm:spPr/>
      <dgm:t>
        <a:bodyPr/>
        <a:lstStyle/>
        <a:p>
          <a:r>
            <a:rPr lang="fr-FR" dirty="0"/>
            <a:t>Dettes</a:t>
          </a:r>
        </a:p>
      </dgm:t>
    </dgm:pt>
    <dgm:pt modelId="{233C618D-6FC8-45CE-A3DC-1322AF9C4AE0}" type="parTrans" cxnId="{C4BF9868-6F63-46A6-A3FC-DCAF9971AB96}">
      <dgm:prSet/>
      <dgm:spPr/>
      <dgm:t>
        <a:bodyPr/>
        <a:lstStyle/>
        <a:p>
          <a:endParaRPr lang="fr-FR"/>
        </a:p>
      </dgm:t>
    </dgm:pt>
    <dgm:pt modelId="{146CFEA2-C996-4742-A5C1-C6B3CE4B3ADC}" type="sibTrans" cxnId="{C4BF9868-6F63-46A6-A3FC-DCAF9971AB96}">
      <dgm:prSet/>
      <dgm:spPr/>
      <dgm:t>
        <a:bodyPr/>
        <a:lstStyle/>
        <a:p>
          <a:endParaRPr lang="fr-FR"/>
        </a:p>
      </dgm:t>
    </dgm:pt>
    <dgm:pt modelId="{6DF41175-8432-416F-A446-8502FBA68ACD}" type="pres">
      <dgm:prSet presAssocID="{BE0C5915-3C43-47D6-AFED-362633A2C26C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</dgm:pt>
    <dgm:pt modelId="{904F0DAC-57D6-4456-99D3-49385AACF57F}" type="pres">
      <dgm:prSet presAssocID="{DDC60466-F46C-453E-AC2A-6E1674B16E15}" presName="singleCycle" presStyleCnt="0"/>
      <dgm:spPr/>
    </dgm:pt>
    <dgm:pt modelId="{41B849FB-EAD0-4444-B471-9965F7A844A5}" type="pres">
      <dgm:prSet presAssocID="{DDC60466-F46C-453E-AC2A-6E1674B16E15}" presName="singleCenter" presStyleLbl="node1" presStyleIdx="0" presStyleCnt="4" custScaleX="125490">
        <dgm:presLayoutVars>
          <dgm:chMax val="7"/>
          <dgm:chPref val="7"/>
        </dgm:presLayoutVars>
      </dgm:prSet>
      <dgm:spPr/>
    </dgm:pt>
    <dgm:pt modelId="{91984521-9003-459F-A2C4-2AC69BD89A72}" type="pres">
      <dgm:prSet presAssocID="{32C554BE-F84E-439E-859C-98765BB7900C}" presName="Name56" presStyleLbl="parChTrans1D2" presStyleIdx="0" presStyleCnt="3"/>
      <dgm:spPr/>
    </dgm:pt>
    <dgm:pt modelId="{0BED5604-EEFD-4C4A-9AD8-7B14618D1D57}" type="pres">
      <dgm:prSet presAssocID="{F8F02183-059D-4F65-9917-141C2A1D5502}" presName="text0" presStyleLbl="node1" presStyleIdx="1" presStyleCnt="4">
        <dgm:presLayoutVars>
          <dgm:bulletEnabled val="1"/>
        </dgm:presLayoutVars>
      </dgm:prSet>
      <dgm:spPr/>
    </dgm:pt>
    <dgm:pt modelId="{424A11D4-4363-423A-B157-C18B101205ED}" type="pres">
      <dgm:prSet presAssocID="{44E3DCC0-C648-4244-93EC-832FAA1EA180}" presName="Name56" presStyleLbl="parChTrans1D2" presStyleIdx="1" presStyleCnt="3"/>
      <dgm:spPr/>
    </dgm:pt>
    <dgm:pt modelId="{3FA7C0E1-D056-4C33-9360-AC5C4B9C8D6E}" type="pres">
      <dgm:prSet presAssocID="{E7459625-3E7B-414D-BAD3-F4B19966F367}" presName="text0" presStyleLbl="node1" presStyleIdx="2" presStyleCnt="4">
        <dgm:presLayoutVars>
          <dgm:bulletEnabled val="1"/>
        </dgm:presLayoutVars>
      </dgm:prSet>
      <dgm:spPr/>
    </dgm:pt>
    <dgm:pt modelId="{70DB37F1-98CC-45D6-999F-4AFB80ED0D7C}" type="pres">
      <dgm:prSet presAssocID="{233C618D-6FC8-45CE-A3DC-1322AF9C4AE0}" presName="Name56" presStyleLbl="parChTrans1D2" presStyleIdx="2" presStyleCnt="3"/>
      <dgm:spPr/>
    </dgm:pt>
    <dgm:pt modelId="{78979B5D-F006-4118-8B8F-DD3D31EB1E89}" type="pres">
      <dgm:prSet presAssocID="{11FE854E-1BEA-4B4B-B823-DF7E1957D28B}" presName="text0" presStyleLbl="node1" presStyleIdx="3" presStyleCnt="4">
        <dgm:presLayoutVars>
          <dgm:bulletEnabled val="1"/>
        </dgm:presLayoutVars>
      </dgm:prSet>
      <dgm:spPr/>
    </dgm:pt>
  </dgm:ptLst>
  <dgm:cxnLst>
    <dgm:cxn modelId="{801EEA0D-581A-471F-80E1-77CEF3423F59}" type="presOf" srcId="{F8F02183-059D-4F65-9917-141C2A1D5502}" destId="{0BED5604-EEFD-4C4A-9AD8-7B14618D1D57}" srcOrd="0" destOrd="0" presId="urn:microsoft.com/office/officeart/2008/layout/RadialCluster"/>
    <dgm:cxn modelId="{25A43C3E-61E2-40C2-90AE-E3011354A6C9}" type="presOf" srcId="{11FE854E-1BEA-4B4B-B823-DF7E1957D28B}" destId="{78979B5D-F006-4118-8B8F-DD3D31EB1E89}" srcOrd="0" destOrd="0" presId="urn:microsoft.com/office/officeart/2008/layout/RadialCluster"/>
    <dgm:cxn modelId="{84AA4741-E7B3-4F0A-8C30-D6DD555A91A9}" type="presOf" srcId="{E7459625-3E7B-414D-BAD3-F4B19966F367}" destId="{3FA7C0E1-D056-4C33-9360-AC5C4B9C8D6E}" srcOrd="0" destOrd="0" presId="urn:microsoft.com/office/officeart/2008/layout/RadialCluster"/>
    <dgm:cxn modelId="{55A49A44-BDF7-4E9A-8979-B4AED8182406}" type="presOf" srcId="{233C618D-6FC8-45CE-A3DC-1322AF9C4AE0}" destId="{70DB37F1-98CC-45D6-999F-4AFB80ED0D7C}" srcOrd="0" destOrd="0" presId="urn:microsoft.com/office/officeart/2008/layout/RadialCluster"/>
    <dgm:cxn modelId="{CF007145-02D0-4133-95ED-F9FAFA2C4F6C}" srcId="{BE0C5915-3C43-47D6-AFED-362633A2C26C}" destId="{DDC60466-F46C-453E-AC2A-6E1674B16E15}" srcOrd="0" destOrd="0" parTransId="{7853F94D-64AE-4A1C-88E3-1A1914EDC196}" sibTransId="{78E91BB1-6DFE-4976-8A41-0262083FEB5F}"/>
    <dgm:cxn modelId="{C4BF9868-6F63-46A6-A3FC-DCAF9971AB96}" srcId="{DDC60466-F46C-453E-AC2A-6E1674B16E15}" destId="{11FE854E-1BEA-4B4B-B823-DF7E1957D28B}" srcOrd="2" destOrd="0" parTransId="{233C618D-6FC8-45CE-A3DC-1322AF9C4AE0}" sibTransId="{146CFEA2-C996-4742-A5C1-C6B3CE4B3ADC}"/>
    <dgm:cxn modelId="{5E553E87-A2FD-49DF-B11B-F3A05FFBF0D7}" type="presOf" srcId="{BE0C5915-3C43-47D6-AFED-362633A2C26C}" destId="{6DF41175-8432-416F-A446-8502FBA68ACD}" srcOrd="0" destOrd="0" presId="urn:microsoft.com/office/officeart/2008/layout/RadialCluster"/>
    <dgm:cxn modelId="{4C3C8695-ECFE-4752-A4F4-04D1F9D677F6}" srcId="{DDC60466-F46C-453E-AC2A-6E1674B16E15}" destId="{E7459625-3E7B-414D-BAD3-F4B19966F367}" srcOrd="1" destOrd="0" parTransId="{44E3DCC0-C648-4244-93EC-832FAA1EA180}" sibTransId="{59724375-9E17-4419-A70E-4DF92196643B}"/>
    <dgm:cxn modelId="{C927949C-7207-4080-8055-5B6549E13F5B}" type="presOf" srcId="{44E3DCC0-C648-4244-93EC-832FAA1EA180}" destId="{424A11D4-4363-423A-B157-C18B101205ED}" srcOrd="0" destOrd="0" presId="urn:microsoft.com/office/officeart/2008/layout/RadialCluster"/>
    <dgm:cxn modelId="{0E4BCDB2-3B09-4870-B61B-DE0A8A3EBBFD}" type="presOf" srcId="{32C554BE-F84E-439E-859C-98765BB7900C}" destId="{91984521-9003-459F-A2C4-2AC69BD89A72}" srcOrd="0" destOrd="0" presId="urn:microsoft.com/office/officeart/2008/layout/RadialCluster"/>
    <dgm:cxn modelId="{A04FE4F5-AC55-4B5C-88C3-117B8CDC68F5}" srcId="{DDC60466-F46C-453E-AC2A-6E1674B16E15}" destId="{F8F02183-059D-4F65-9917-141C2A1D5502}" srcOrd="0" destOrd="0" parTransId="{32C554BE-F84E-439E-859C-98765BB7900C}" sibTransId="{D9B72CC2-CF64-4D65-807F-39D778D9895B}"/>
    <dgm:cxn modelId="{A78773FE-A291-4916-914F-7F0BCEE49819}" type="presOf" srcId="{DDC60466-F46C-453E-AC2A-6E1674B16E15}" destId="{41B849FB-EAD0-4444-B471-9965F7A844A5}" srcOrd="0" destOrd="0" presId="urn:microsoft.com/office/officeart/2008/layout/RadialCluster"/>
    <dgm:cxn modelId="{AFC6C793-9E63-41B3-B7E5-49768DD793FC}" type="presParOf" srcId="{6DF41175-8432-416F-A446-8502FBA68ACD}" destId="{904F0DAC-57D6-4456-99D3-49385AACF57F}" srcOrd="0" destOrd="0" presId="urn:microsoft.com/office/officeart/2008/layout/RadialCluster"/>
    <dgm:cxn modelId="{9919F505-26BD-405B-A94E-1DDC2D61D678}" type="presParOf" srcId="{904F0DAC-57D6-4456-99D3-49385AACF57F}" destId="{41B849FB-EAD0-4444-B471-9965F7A844A5}" srcOrd="0" destOrd="0" presId="urn:microsoft.com/office/officeart/2008/layout/RadialCluster"/>
    <dgm:cxn modelId="{6F1EF834-C35C-4E35-A080-039BC1E47DA6}" type="presParOf" srcId="{904F0DAC-57D6-4456-99D3-49385AACF57F}" destId="{91984521-9003-459F-A2C4-2AC69BD89A72}" srcOrd="1" destOrd="0" presId="urn:microsoft.com/office/officeart/2008/layout/RadialCluster"/>
    <dgm:cxn modelId="{E51CC5AA-A7E1-446E-8C5A-FCCB2B178577}" type="presParOf" srcId="{904F0DAC-57D6-4456-99D3-49385AACF57F}" destId="{0BED5604-EEFD-4C4A-9AD8-7B14618D1D57}" srcOrd="2" destOrd="0" presId="urn:microsoft.com/office/officeart/2008/layout/RadialCluster"/>
    <dgm:cxn modelId="{8C0FB834-FB0B-4ADD-9BE9-264D025F6B2C}" type="presParOf" srcId="{904F0DAC-57D6-4456-99D3-49385AACF57F}" destId="{424A11D4-4363-423A-B157-C18B101205ED}" srcOrd="3" destOrd="0" presId="urn:microsoft.com/office/officeart/2008/layout/RadialCluster"/>
    <dgm:cxn modelId="{3DA4ECAB-0BE3-463E-A6B3-3B80C9E00D9B}" type="presParOf" srcId="{904F0DAC-57D6-4456-99D3-49385AACF57F}" destId="{3FA7C0E1-D056-4C33-9360-AC5C4B9C8D6E}" srcOrd="4" destOrd="0" presId="urn:microsoft.com/office/officeart/2008/layout/RadialCluster"/>
    <dgm:cxn modelId="{1E515A52-A8D5-4E8D-AFB8-3C4ACCEF654A}" type="presParOf" srcId="{904F0DAC-57D6-4456-99D3-49385AACF57F}" destId="{70DB37F1-98CC-45D6-999F-4AFB80ED0D7C}" srcOrd="5" destOrd="0" presId="urn:microsoft.com/office/officeart/2008/layout/RadialCluster"/>
    <dgm:cxn modelId="{623C5136-F714-430E-8932-44D2448D161B}" type="presParOf" srcId="{904F0DAC-57D6-4456-99D3-49385AACF57F}" destId="{78979B5D-F006-4118-8B8F-DD3D31EB1E89}" srcOrd="6" destOrd="0" presId="urn:microsoft.com/office/officeart/2008/layout/RadialCluster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32FC3079-79FC-4B3C-8370-501DCC45B858}" type="doc">
      <dgm:prSet loTypeId="urn:microsoft.com/office/officeart/2005/8/layout/equation1" loCatId="process" qsTypeId="urn:microsoft.com/office/officeart/2005/8/quickstyle/3d1" qsCatId="3D" csTypeId="urn:microsoft.com/office/officeart/2005/8/colors/colorful1#3" csCatId="colorful" phldr="1"/>
      <dgm:spPr/>
    </dgm:pt>
    <dgm:pt modelId="{0C88F645-26AC-4C17-A500-162EF83E2DDE}">
      <dgm:prSet phldrT="[Texte]"/>
      <dgm:spPr/>
      <dgm:t>
        <a:bodyPr/>
        <a:lstStyle/>
        <a:p>
          <a:r>
            <a:rPr lang="fr-FR" b="1" dirty="0"/>
            <a:t>Actif</a:t>
          </a:r>
        </a:p>
      </dgm:t>
    </dgm:pt>
    <dgm:pt modelId="{3EE1A699-6BE9-4543-BA6C-C03E40A129A3}" type="parTrans" cxnId="{86E36D5F-788A-4A30-8DF5-ED82155C65EA}">
      <dgm:prSet/>
      <dgm:spPr/>
      <dgm:t>
        <a:bodyPr/>
        <a:lstStyle/>
        <a:p>
          <a:endParaRPr lang="fr-FR" b="1"/>
        </a:p>
      </dgm:t>
    </dgm:pt>
    <dgm:pt modelId="{E06128E8-FCEF-4BB4-90B2-862E4849470F}" type="sibTrans" cxnId="{86E36D5F-788A-4A30-8DF5-ED82155C65EA}">
      <dgm:prSet>
        <dgm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dgm:style>
      </dgm:prSet>
      <dgm:spPr/>
      <dgm:t>
        <a:bodyPr/>
        <a:lstStyle/>
        <a:p>
          <a:endParaRPr lang="fr-FR" b="1" dirty="0"/>
        </a:p>
      </dgm:t>
    </dgm:pt>
    <dgm:pt modelId="{D890B0F6-6C53-4337-8059-CB86E326F5D6}">
      <dgm:prSet phldrT="[Texte]"/>
      <dgm:spPr/>
      <dgm:t>
        <a:bodyPr/>
        <a:lstStyle/>
        <a:p>
          <a:r>
            <a:rPr lang="fr-FR" b="1" dirty="0"/>
            <a:t>Dettes auprès des tiers</a:t>
          </a:r>
        </a:p>
      </dgm:t>
    </dgm:pt>
    <dgm:pt modelId="{02D66C56-260D-42E7-97E8-EA4D6836ED59}" type="parTrans" cxnId="{7AD4AD24-1E89-4E4A-A5C2-B82800FBA80F}">
      <dgm:prSet/>
      <dgm:spPr/>
      <dgm:t>
        <a:bodyPr/>
        <a:lstStyle/>
        <a:p>
          <a:endParaRPr lang="fr-FR" b="1"/>
        </a:p>
      </dgm:t>
    </dgm:pt>
    <dgm:pt modelId="{D735A777-C892-4118-9698-0A35F23FB5D5}" type="sibTrans" cxnId="{7AD4AD24-1E89-4E4A-A5C2-B82800FBA80F}">
      <dgm:prSet>
        <dgm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dgm:style>
      </dgm:prSet>
      <dgm:spPr/>
      <dgm:t>
        <a:bodyPr/>
        <a:lstStyle/>
        <a:p>
          <a:endParaRPr lang="fr-FR" b="1" dirty="0"/>
        </a:p>
      </dgm:t>
    </dgm:pt>
    <dgm:pt modelId="{DEBBCE3C-EFBE-4131-8343-AB1BAF33C18D}">
      <dgm:prSet phldrT="[Texte]"/>
      <dgm:spPr/>
      <dgm:t>
        <a:bodyPr/>
        <a:lstStyle/>
        <a:p>
          <a:r>
            <a:rPr lang="fr-FR" b="1" dirty="0"/>
            <a:t>Capitaux propres</a:t>
          </a:r>
        </a:p>
      </dgm:t>
    </dgm:pt>
    <dgm:pt modelId="{D5F931B7-617B-45C7-9220-670FC32FA54F}" type="parTrans" cxnId="{531A2F03-2F03-437D-B971-6471C0A29019}">
      <dgm:prSet/>
      <dgm:spPr/>
      <dgm:t>
        <a:bodyPr/>
        <a:lstStyle/>
        <a:p>
          <a:endParaRPr lang="fr-FR" b="1"/>
        </a:p>
      </dgm:t>
    </dgm:pt>
    <dgm:pt modelId="{55D57EF9-6471-4D51-9344-CF96A8962315}" type="sibTrans" cxnId="{531A2F03-2F03-437D-B971-6471C0A29019}">
      <dgm:prSet/>
      <dgm:spPr/>
      <dgm:t>
        <a:bodyPr/>
        <a:lstStyle/>
        <a:p>
          <a:endParaRPr lang="fr-FR" b="1"/>
        </a:p>
      </dgm:t>
    </dgm:pt>
    <dgm:pt modelId="{54BC45CC-E7D2-43DA-8E90-10F7326D47B5}" type="pres">
      <dgm:prSet presAssocID="{32FC3079-79FC-4B3C-8370-501DCC45B858}" presName="linearFlow" presStyleCnt="0">
        <dgm:presLayoutVars>
          <dgm:dir/>
          <dgm:resizeHandles val="exact"/>
        </dgm:presLayoutVars>
      </dgm:prSet>
      <dgm:spPr/>
    </dgm:pt>
    <dgm:pt modelId="{ABC05D8E-93E0-43D1-971C-606697A511F2}" type="pres">
      <dgm:prSet presAssocID="{0C88F645-26AC-4C17-A500-162EF83E2DDE}" presName="node" presStyleLbl="node1" presStyleIdx="0" presStyleCnt="3">
        <dgm:presLayoutVars>
          <dgm:bulletEnabled val="1"/>
        </dgm:presLayoutVars>
      </dgm:prSet>
      <dgm:spPr/>
    </dgm:pt>
    <dgm:pt modelId="{B90950C0-82B1-4DBF-85D9-E9BC37D92EC6}" type="pres">
      <dgm:prSet presAssocID="{E06128E8-FCEF-4BB4-90B2-862E4849470F}" presName="spacerL" presStyleCnt="0"/>
      <dgm:spPr/>
    </dgm:pt>
    <dgm:pt modelId="{A749062C-2DF4-4B98-8B8A-693C2080EA77}" type="pres">
      <dgm:prSet presAssocID="{E06128E8-FCEF-4BB4-90B2-862E4849470F}" presName="sibTrans" presStyleLbl="sibTrans2D1" presStyleIdx="0" presStyleCnt="2"/>
      <dgm:spPr>
        <a:prstGeom prst="mathMinus">
          <a:avLst/>
        </a:prstGeom>
      </dgm:spPr>
    </dgm:pt>
    <dgm:pt modelId="{A8DA34D0-3B34-44A2-A56A-5D5A6BA80C20}" type="pres">
      <dgm:prSet presAssocID="{E06128E8-FCEF-4BB4-90B2-862E4849470F}" presName="spacerR" presStyleCnt="0"/>
      <dgm:spPr/>
    </dgm:pt>
    <dgm:pt modelId="{E415CD91-9656-484D-9DA7-338274246042}" type="pres">
      <dgm:prSet presAssocID="{D890B0F6-6C53-4337-8059-CB86E326F5D6}" presName="node" presStyleLbl="node1" presStyleIdx="1" presStyleCnt="3">
        <dgm:presLayoutVars>
          <dgm:bulletEnabled val="1"/>
        </dgm:presLayoutVars>
      </dgm:prSet>
      <dgm:spPr/>
    </dgm:pt>
    <dgm:pt modelId="{D513DC05-C77B-4211-801D-C9AADEB35C64}" type="pres">
      <dgm:prSet presAssocID="{D735A777-C892-4118-9698-0A35F23FB5D5}" presName="spacerL" presStyleCnt="0"/>
      <dgm:spPr/>
    </dgm:pt>
    <dgm:pt modelId="{4668F5C0-12DA-4F00-8DBD-979E8D4221D3}" type="pres">
      <dgm:prSet presAssocID="{D735A777-C892-4118-9698-0A35F23FB5D5}" presName="sibTrans" presStyleLbl="sibTrans2D1" presStyleIdx="1" presStyleCnt="2"/>
      <dgm:spPr/>
    </dgm:pt>
    <dgm:pt modelId="{DE123ABB-006F-413B-9035-B09BFBB9DDC8}" type="pres">
      <dgm:prSet presAssocID="{D735A777-C892-4118-9698-0A35F23FB5D5}" presName="spacerR" presStyleCnt="0"/>
      <dgm:spPr/>
    </dgm:pt>
    <dgm:pt modelId="{1D571E45-C775-41AA-86F8-02C486CB2864}" type="pres">
      <dgm:prSet presAssocID="{DEBBCE3C-EFBE-4131-8343-AB1BAF33C18D}" presName="node" presStyleLbl="node1" presStyleIdx="2" presStyleCnt="3">
        <dgm:presLayoutVars>
          <dgm:bulletEnabled val="1"/>
        </dgm:presLayoutVars>
      </dgm:prSet>
      <dgm:spPr/>
    </dgm:pt>
  </dgm:ptLst>
  <dgm:cxnLst>
    <dgm:cxn modelId="{531A2F03-2F03-437D-B971-6471C0A29019}" srcId="{32FC3079-79FC-4B3C-8370-501DCC45B858}" destId="{DEBBCE3C-EFBE-4131-8343-AB1BAF33C18D}" srcOrd="2" destOrd="0" parTransId="{D5F931B7-617B-45C7-9220-670FC32FA54F}" sibTransId="{55D57EF9-6471-4D51-9344-CF96A8962315}"/>
    <dgm:cxn modelId="{7AD4AD24-1E89-4E4A-A5C2-B82800FBA80F}" srcId="{32FC3079-79FC-4B3C-8370-501DCC45B858}" destId="{D890B0F6-6C53-4337-8059-CB86E326F5D6}" srcOrd="1" destOrd="0" parTransId="{02D66C56-260D-42E7-97E8-EA4D6836ED59}" sibTransId="{D735A777-C892-4118-9698-0A35F23FB5D5}"/>
    <dgm:cxn modelId="{8A663A3D-ADBB-4156-9306-4E63C64A444C}" type="presOf" srcId="{D735A777-C892-4118-9698-0A35F23FB5D5}" destId="{4668F5C0-12DA-4F00-8DBD-979E8D4221D3}" srcOrd="0" destOrd="0" presId="urn:microsoft.com/office/officeart/2005/8/layout/equation1"/>
    <dgm:cxn modelId="{D108053E-CBF0-434F-80C1-01FD25DB041C}" type="presOf" srcId="{E06128E8-FCEF-4BB4-90B2-862E4849470F}" destId="{A749062C-2DF4-4B98-8B8A-693C2080EA77}" srcOrd="0" destOrd="0" presId="urn:microsoft.com/office/officeart/2005/8/layout/equation1"/>
    <dgm:cxn modelId="{86E36D5F-788A-4A30-8DF5-ED82155C65EA}" srcId="{32FC3079-79FC-4B3C-8370-501DCC45B858}" destId="{0C88F645-26AC-4C17-A500-162EF83E2DDE}" srcOrd="0" destOrd="0" parTransId="{3EE1A699-6BE9-4543-BA6C-C03E40A129A3}" sibTransId="{E06128E8-FCEF-4BB4-90B2-862E4849470F}"/>
    <dgm:cxn modelId="{3761CF6B-2102-45B9-894D-5B260D7A456F}" type="presOf" srcId="{D890B0F6-6C53-4337-8059-CB86E326F5D6}" destId="{E415CD91-9656-484D-9DA7-338274246042}" srcOrd="0" destOrd="0" presId="urn:microsoft.com/office/officeart/2005/8/layout/equation1"/>
    <dgm:cxn modelId="{0B82A46E-B685-4A34-BD34-3641BCFD8EEA}" type="presOf" srcId="{0C88F645-26AC-4C17-A500-162EF83E2DDE}" destId="{ABC05D8E-93E0-43D1-971C-606697A511F2}" srcOrd="0" destOrd="0" presId="urn:microsoft.com/office/officeart/2005/8/layout/equation1"/>
    <dgm:cxn modelId="{F2F3E853-AB4C-4BB7-9EDF-99D600DAF9FE}" type="presOf" srcId="{DEBBCE3C-EFBE-4131-8343-AB1BAF33C18D}" destId="{1D571E45-C775-41AA-86F8-02C486CB2864}" srcOrd="0" destOrd="0" presId="urn:microsoft.com/office/officeart/2005/8/layout/equation1"/>
    <dgm:cxn modelId="{4EFBBDF0-A9A0-405D-9041-A2A528814E43}" type="presOf" srcId="{32FC3079-79FC-4B3C-8370-501DCC45B858}" destId="{54BC45CC-E7D2-43DA-8E90-10F7326D47B5}" srcOrd="0" destOrd="0" presId="urn:microsoft.com/office/officeart/2005/8/layout/equation1"/>
    <dgm:cxn modelId="{75DDF66F-B32A-42B5-8D81-9A5D09B3DC8A}" type="presParOf" srcId="{54BC45CC-E7D2-43DA-8E90-10F7326D47B5}" destId="{ABC05D8E-93E0-43D1-971C-606697A511F2}" srcOrd="0" destOrd="0" presId="urn:microsoft.com/office/officeart/2005/8/layout/equation1"/>
    <dgm:cxn modelId="{76A9E7CD-21B5-4EF1-9212-4DE8700F5674}" type="presParOf" srcId="{54BC45CC-E7D2-43DA-8E90-10F7326D47B5}" destId="{B90950C0-82B1-4DBF-85D9-E9BC37D92EC6}" srcOrd="1" destOrd="0" presId="urn:microsoft.com/office/officeart/2005/8/layout/equation1"/>
    <dgm:cxn modelId="{BE272113-A4FE-42C0-86DA-04988736C002}" type="presParOf" srcId="{54BC45CC-E7D2-43DA-8E90-10F7326D47B5}" destId="{A749062C-2DF4-4B98-8B8A-693C2080EA77}" srcOrd="2" destOrd="0" presId="urn:microsoft.com/office/officeart/2005/8/layout/equation1"/>
    <dgm:cxn modelId="{92F8CB36-3232-4B8A-B694-CA82DA375E6C}" type="presParOf" srcId="{54BC45CC-E7D2-43DA-8E90-10F7326D47B5}" destId="{A8DA34D0-3B34-44A2-A56A-5D5A6BA80C20}" srcOrd="3" destOrd="0" presId="urn:microsoft.com/office/officeart/2005/8/layout/equation1"/>
    <dgm:cxn modelId="{A418F98B-2B74-440C-8BAF-F3764878F8E7}" type="presParOf" srcId="{54BC45CC-E7D2-43DA-8E90-10F7326D47B5}" destId="{E415CD91-9656-484D-9DA7-338274246042}" srcOrd="4" destOrd="0" presId="urn:microsoft.com/office/officeart/2005/8/layout/equation1"/>
    <dgm:cxn modelId="{6D848A6B-F0F3-4723-9F91-DC77CE3EEFA0}" type="presParOf" srcId="{54BC45CC-E7D2-43DA-8E90-10F7326D47B5}" destId="{D513DC05-C77B-4211-801D-C9AADEB35C64}" srcOrd="5" destOrd="0" presId="urn:microsoft.com/office/officeart/2005/8/layout/equation1"/>
    <dgm:cxn modelId="{36671A10-23A7-4565-BB54-A1233C9E9977}" type="presParOf" srcId="{54BC45CC-E7D2-43DA-8E90-10F7326D47B5}" destId="{4668F5C0-12DA-4F00-8DBD-979E8D4221D3}" srcOrd="6" destOrd="0" presId="urn:microsoft.com/office/officeart/2005/8/layout/equation1"/>
    <dgm:cxn modelId="{51A07CAA-12DB-4E16-AF78-45FDE21C7124}" type="presParOf" srcId="{54BC45CC-E7D2-43DA-8E90-10F7326D47B5}" destId="{DE123ABB-006F-413B-9035-B09BFBB9DDC8}" srcOrd="7" destOrd="0" presId="urn:microsoft.com/office/officeart/2005/8/layout/equation1"/>
    <dgm:cxn modelId="{30480F41-2EF2-4F6B-AA33-43A5E72DBFA4}" type="presParOf" srcId="{54BC45CC-E7D2-43DA-8E90-10F7326D47B5}" destId="{1D571E45-C775-41AA-86F8-02C486CB2864}" srcOrd="8" destOrd="0" presId="urn:microsoft.com/office/officeart/2005/8/layout/equati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2CCA5B7E-21A6-4DC3-AEB6-73C0341295A9}" type="doc">
      <dgm:prSet loTypeId="urn:microsoft.com/office/officeart/2018/2/layout/IconLabelList" loCatId="icon" qsTypeId="urn:microsoft.com/office/officeart/2005/8/quickstyle/simple1" qsCatId="simple" csTypeId="urn:microsoft.com/office/officeart/2018/5/colors/Iconchunking_neutralbg_accent1_2" csCatId="accent1" phldr="1"/>
      <dgm:spPr/>
      <dgm:t>
        <a:bodyPr/>
        <a:lstStyle/>
        <a:p>
          <a:endParaRPr lang="en-US"/>
        </a:p>
      </dgm:t>
    </dgm:pt>
    <dgm:pt modelId="{E795DB93-7A97-450F-98F4-ED1E9136DB97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 err="1"/>
            <a:t>En</a:t>
          </a:r>
          <a:r>
            <a:rPr lang="en-US" dirty="0"/>
            <a:t> tableau =&gt; </a:t>
          </a:r>
          <a:r>
            <a:rPr lang="en-US" dirty="0" err="1"/>
            <a:t>pédago</a:t>
          </a:r>
          <a:endParaRPr lang="en-US" dirty="0"/>
        </a:p>
      </dgm:t>
    </dgm:pt>
    <dgm:pt modelId="{5B8FA836-B932-461E-8FB8-E5B80EA0822F}" type="parTrans" cxnId="{B02DAE81-278C-4C87-851D-4AB83F77BA19}">
      <dgm:prSet/>
      <dgm:spPr/>
      <dgm:t>
        <a:bodyPr/>
        <a:lstStyle/>
        <a:p>
          <a:endParaRPr lang="en-US"/>
        </a:p>
      </dgm:t>
    </dgm:pt>
    <dgm:pt modelId="{A1C8728D-DD21-4CAC-83E7-6F49F6B34D00}" type="sibTrans" cxnId="{B02DAE81-278C-4C87-851D-4AB83F77BA19}">
      <dgm:prSet/>
      <dgm:spPr/>
      <dgm:t>
        <a:bodyPr/>
        <a:lstStyle/>
        <a:p>
          <a:endParaRPr lang="en-US"/>
        </a:p>
      </dgm:t>
    </dgm:pt>
    <dgm:pt modelId="{C1E51F19-9EB4-4BFA-9965-31A70CF860D2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 err="1"/>
            <a:t>En</a:t>
          </a:r>
          <a:r>
            <a:rPr lang="en-US" dirty="0"/>
            <a:t> suite =&gt; </a:t>
          </a:r>
          <a:r>
            <a:rPr lang="en-US" dirty="0" err="1"/>
            <a:t>liasse</a:t>
          </a:r>
          <a:endParaRPr lang="en-US" dirty="0"/>
        </a:p>
      </dgm:t>
    </dgm:pt>
    <dgm:pt modelId="{4B84D0E7-894C-4089-9E92-AB79AF63F277}" type="parTrans" cxnId="{6C5E4B9F-D674-45F3-AA7C-E485FF4F2786}">
      <dgm:prSet/>
      <dgm:spPr/>
      <dgm:t>
        <a:bodyPr/>
        <a:lstStyle/>
        <a:p>
          <a:endParaRPr lang="en-US"/>
        </a:p>
      </dgm:t>
    </dgm:pt>
    <dgm:pt modelId="{B70D632C-0E88-46DE-AEEF-23B4995490BB}" type="sibTrans" cxnId="{6C5E4B9F-D674-45F3-AA7C-E485FF4F2786}">
      <dgm:prSet/>
      <dgm:spPr/>
      <dgm:t>
        <a:bodyPr/>
        <a:lstStyle/>
        <a:p>
          <a:endParaRPr lang="en-US"/>
        </a:p>
      </dgm:t>
    </dgm:pt>
    <dgm:pt modelId="{1E55ED33-0951-4B2B-A3D5-5EFB734522D4}" type="pres">
      <dgm:prSet presAssocID="{2CCA5B7E-21A6-4DC3-AEB6-73C0341295A9}" presName="root" presStyleCnt="0">
        <dgm:presLayoutVars>
          <dgm:dir/>
          <dgm:resizeHandles val="exact"/>
        </dgm:presLayoutVars>
      </dgm:prSet>
      <dgm:spPr/>
    </dgm:pt>
    <dgm:pt modelId="{E9491E1C-A07B-4BE9-9851-80ED2972F1A5}" type="pres">
      <dgm:prSet presAssocID="{E795DB93-7A97-450F-98F4-ED1E9136DB97}" presName="compNode" presStyleCnt="0"/>
      <dgm:spPr/>
    </dgm:pt>
    <dgm:pt modelId="{66A3DAA9-DB59-4706-A27B-466FAABE7F09}" type="pres">
      <dgm:prSet presAssocID="{E795DB93-7A97-450F-98F4-ED1E9136DB97}" presName="iconRect" presStyleLbl="nod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Enseignant avec un remplissage uni"/>
        </a:ext>
      </dgm:extLst>
    </dgm:pt>
    <dgm:pt modelId="{C2CD11CD-23CA-4935-BF03-B26B488EAA20}" type="pres">
      <dgm:prSet presAssocID="{E795DB93-7A97-450F-98F4-ED1E9136DB97}" presName="spaceRect" presStyleCnt="0"/>
      <dgm:spPr/>
    </dgm:pt>
    <dgm:pt modelId="{8CFEC6EC-C75B-4D5F-BF78-3A7B6AC37F8F}" type="pres">
      <dgm:prSet presAssocID="{E795DB93-7A97-450F-98F4-ED1E9136DB97}" presName="textRect" presStyleLbl="revTx" presStyleIdx="0" presStyleCnt="2">
        <dgm:presLayoutVars>
          <dgm:chMax val="1"/>
          <dgm:chPref val="1"/>
        </dgm:presLayoutVars>
      </dgm:prSet>
      <dgm:spPr/>
    </dgm:pt>
    <dgm:pt modelId="{A534A6A3-6FED-4FC9-93D3-56D82216C7D0}" type="pres">
      <dgm:prSet presAssocID="{A1C8728D-DD21-4CAC-83E7-6F49F6B34D00}" presName="sibTrans" presStyleCnt="0"/>
      <dgm:spPr/>
    </dgm:pt>
    <dgm:pt modelId="{1EEB9D7E-5DEB-40EC-8DD9-776DDE6FFF80}" type="pres">
      <dgm:prSet presAssocID="{C1E51F19-9EB4-4BFA-9965-31A70CF860D2}" presName="compNode" presStyleCnt="0"/>
      <dgm:spPr/>
    </dgm:pt>
    <dgm:pt modelId="{36F343E4-A148-4814-80CB-87DAED571C9A}" type="pres">
      <dgm:prSet presAssocID="{C1E51F19-9EB4-4BFA-9965-31A70CF860D2}" presName="iconRect" presStyleLbl="node1" presStyleIdx="1" presStyleCnt="2"/>
      <dgm:spPr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Liste de contrôle contour"/>
        </a:ext>
      </dgm:extLst>
    </dgm:pt>
    <dgm:pt modelId="{701675BD-9CB4-4207-9086-136ED0A7226E}" type="pres">
      <dgm:prSet presAssocID="{C1E51F19-9EB4-4BFA-9965-31A70CF860D2}" presName="spaceRect" presStyleCnt="0"/>
      <dgm:spPr/>
    </dgm:pt>
    <dgm:pt modelId="{49798EB1-FC90-4757-94C7-B1833DF5E1FC}" type="pres">
      <dgm:prSet presAssocID="{C1E51F19-9EB4-4BFA-9965-31A70CF860D2}" presName="textRect" presStyleLbl="revTx" presStyleIdx="1" presStyleCnt="2">
        <dgm:presLayoutVars>
          <dgm:chMax val="1"/>
          <dgm:chPref val="1"/>
        </dgm:presLayoutVars>
      </dgm:prSet>
      <dgm:spPr/>
    </dgm:pt>
  </dgm:ptLst>
  <dgm:cxnLst>
    <dgm:cxn modelId="{A25F8523-40B1-47DB-8627-56E8B6BBAFEE}" type="presOf" srcId="{C1E51F19-9EB4-4BFA-9965-31A70CF860D2}" destId="{49798EB1-FC90-4757-94C7-B1833DF5E1FC}" srcOrd="0" destOrd="0" presId="urn:microsoft.com/office/officeart/2018/2/layout/IconLabelList"/>
    <dgm:cxn modelId="{B02DAE81-278C-4C87-851D-4AB83F77BA19}" srcId="{2CCA5B7E-21A6-4DC3-AEB6-73C0341295A9}" destId="{E795DB93-7A97-450F-98F4-ED1E9136DB97}" srcOrd="0" destOrd="0" parTransId="{5B8FA836-B932-461E-8FB8-E5B80EA0822F}" sibTransId="{A1C8728D-DD21-4CAC-83E7-6F49F6B34D00}"/>
    <dgm:cxn modelId="{6C5E4B9F-D674-45F3-AA7C-E485FF4F2786}" srcId="{2CCA5B7E-21A6-4DC3-AEB6-73C0341295A9}" destId="{C1E51F19-9EB4-4BFA-9965-31A70CF860D2}" srcOrd="1" destOrd="0" parTransId="{4B84D0E7-894C-4089-9E92-AB79AF63F277}" sibTransId="{B70D632C-0E88-46DE-AEEF-23B4995490BB}"/>
    <dgm:cxn modelId="{DAE7ABDC-1BC6-4E9B-9D0E-44F6166AF3D3}" type="presOf" srcId="{E795DB93-7A97-450F-98F4-ED1E9136DB97}" destId="{8CFEC6EC-C75B-4D5F-BF78-3A7B6AC37F8F}" srcOrd="0" destOrd="0" presId="urn:microsoft.com/office/officeart/2018/2/layout/IconLabelList"/>
    <dgm:cxn modelId="{DE1808F8-0DF3-4D2C-88AB-8EA1546BE934}" type="presOf" srcId="{2CCA5B7E-21A6-4DC3-AEB6-73C0341295A9}" destId="{1E55ED33-0951-4B2B-A3D5-5EFB734522D4}" srcOrd="0" destOrd="0" presId="urn:microsoft.com/office/officeart/2018/2/layout/IconLabelList"/>
    <dgm:cxn modelId="{60D5292A-C524-4DF4-AADE-B3151894724B}" type="presParOf" srcId="{1E55ED33-0951-4B2B-A3D5-5EFB734522D4}" destId="{E9491E1C-A07B-4BE9-9851-80ED2972F1A5}" srcOrd="0" destOrd="0" presId="urn:microsoft.com/office/officeart/2018/2/layout/IconLabelList"/>
    <dgm:cxn modelId="{0EA62072-EA38-4239-94A6-127C11AD6FD9}" type="presParOf" srcId="{E9491E1C-A07B-4BE9-9851-80ED2972F1A5}" destId="{66A3DAA9-DB59-4706-A27B-466FAABE7F09}" srcOrd="0" destOrd="0" presId="urn:microsoft.com/office/officeart/2018/2/layout/IconLabelList"/>
    <dgm:cxn modelId="{AE2ECE8F-1624-4790-A64F-1E3F702AA623}" type="presParOf" srcId="{E9491E1C-A07B-4BE9-9851-80ED2972F1A5}" destId="{C2CD11CD-23CA-4935-BF03-B26B488EAA20}" srcOrd="1" destOrd="0" presId="urn:microsoft.com/office/officeart/2018/2/layout/IconLabelList"/>
    <dgm:cxn modelId="{4C057801-5681-4B03-AE78-8BAD5089009A}" type="presParOf" srcId="{E9491E1C-A07B-4BE9-9851-80ED2972F1A5}" destId="{8CFEC6EC-C75B-4D5F-BF78-3A7B6AC37F8F}" srcOrd="2" destOrd="0" presId="urn:microsoft.com/office/officeart/2018/2/layout/IconLabelList"/>
    <dgm:cxn modelId="{A20AF26A-9EA8-4652-A8EE-4D0C4A5F920F}" type="presParOf" srcId="{1E55ED33-0951-4B2B-A3D5-5EFB734522D4}" destId="{A534A6A3-6FED-4FC9-93D3-56D82216C7D0}" srcOrd="1" destOrd="0" presId="urn:microsoft.com/office/officeart/2018/2/layout/IconLabelList"/>
    <dgm:cxn modelId="{3C602942-FA68-466C-915D-4C4FBC7BE76C}" type="presParOf" srcId="{1E55ED33-0951-4B2B-A3D5-5EFB734522D4}" destId="{1EEB9D7E-5DEB-40EC-8DD9-776DDE6FFF80}" srcOrd="2" destOrd="0" presId="urn:microsoft.com/office/officeart/2018/2/layout/IconLabelList"/>
    <dgm:cxn modelId="{88C31D1C-8E1C-42D7-A58D-A60E81EB67F0}" type="presParOf" srcId="{1EEB9D7E-5DEB-40EC-8DD9-776DDE6FFF80}" destId="{36F343E4-A148-4814-80CB-87DAED571C9A}" srcOrd="0" destOrd="0" presId="urn:microsoft.com/office/officeart/2018/2/layout/IconLabelList"/>
    <dgm:cxn modelId="{0F9226BA-3AA4-4CC7-B897-1F2FC89799B5}" type="presParOf" srcId="{1EEB9D7E-5DEB-40EC-8DD9-776DDE6FFF80}" destId="{701675BD-9CB4-4207-9086-136ED0A7226E}" srcOrd="1" destOrd="0" presId="urn:microsoft.com/office/officeart/2018/2/layout/IconLabelList"/>
    <dgm:cxn modelId="{6B92DCCB-BE64-4226-B3CB-5DE85D0F18C6}" type="presParOf" srcId="{1EEB9D7E-5DEB-40EC-8DD9-776DDE6FFF80}" destId="{49798EB1-FC90-4757-94C7-B1833DF5E1FC}" srcOrd="2" destOrd="0" presId="urn:microsoft.com/office/officeart/2018/2/layout/IconLabel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787C544D-3023-4F60-B53C-768C848DCD54}" type="doc">
      <dgm:prSet loTypeId="urn:microsoft.com/office/officeart/2005/8/layout/vProcess5" loCatId="process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7246902C-F380-4244-A491-559EECE887E9}">
      <dgm:prSet phldrT="[Texte]" custT="1"/>
      <dgm:spPr/>
      <dgm:t>
        <a:bodyPr/>
        <a:lstStyle/>
        <a:p>
          <a:pPr algn="l"/>
          <a:r>
            <a:rPr lang="fr-FR" sz="2000" kern="1200" dirty="0">
              <a:latin typeface="Arial" panose="020B0604020202020204" pitchFamily="34" charset="0"/>
              <a:cs typeface="Arial" panose="020B0604020202020204" pitchFamily="34" charset="0"/>
            </a:rPr>
            <a:t>211 - Terrains</a:t>
          </a:r>
        </a:p>
        <a:p>
          <a:pPr algn="l"/>
          <a:r>
            <a:rPr lang="fr-FR" sz="2000" kern="1200" dirty="0">
              <a:latin typeface="Arial" panose="020B0604020202020204" pitchFamily="34" charset="0"/>
              <a:cs typeface="Arial" panose="020B0604020202020204" pitchFamily="34" charset="0"/>
            </a:rPr>
            <a:t>212 - Agencements et aménagements de terrains</a:t>
          </a:r>
        </a:p>
        <a:p>
          <a:r>
            <a:rPr lang="fr-FR" sz="2000" kern="1200" dirty="0">
              <a:latin typeface="Arial" panose="020B0604020202020204" pitchFamily="34" charset="0"/>
              <a:cs typeface="Arial" panose="020B0604020202020204" pitchFamily="34" charset="0"/>
            </a:rPr>
            <a:t>213 – Constructions</a:t>
          </a:r>
        </a:p>
        <a:p>
          <a:r>
            <a:rPr lang="fr-FR" sz="2000" kern="1200" dirty="0">
              <a:latin typeface="Arial" panose="020B0604020202020204" pitchFamily="34" charset="0"/>
              <a:cs typeface="Arial" panose="020B0604020202020204" pitchFamily="34" charset="0"/>
            </a:rPr>
            <a:t>214 - Constructions sur sol d'autrui </a:t>
          </a:r>
        </a:p>
        <a:p>
          <a:r>
            <a:rPr lang="fr-FR" sz="2000" kern="1200" dirty="0">
              <a:latin typeface="Arial" panose="020B0604020202020204" pitchFamily="34" charset="0"/>
              <a:cs typeface="Arial" panose="020B0604020202020204" pitchFamily="34" charset="0"/>
            </a:rPr>
            <a:t>215 - Installations techniques, matériels et outillage industriels</a:t>
          </a:r>
        </a:p>
        <a:p>
          <a:r>
            <a:rPr lang="fr-FR" sz="2000" kern="1200" dirty="0">
              <a:latin typeface="Arial" panose="020B0604020202020204" pitchFamily="34" charset="0"/>
              <a:cs typeface="Arial" panose="020B0604020202020204" pitchFamily="34" charset="0"/>
            </a:rPr>
            <a:t>218 - Autres immobilisations corporelles</a:t>
          </a:r>
        </a:p>
        <a:p>
          <a:r>
            <a:rPr lang="fr-FR" sz="2000" kern="1200" dirty="0">
              <a:latin typeface="Arial" panose="020B0604020202020204" pitchFamily="34" charset="0"/>
              <a:cs typeface="Arial" panose="020B0604020202020204" pitchFamily="34" charset="0"/>
            </a:rPr>
            <a:t>	- 2181 - Installations générales, agencements, aménagements divers</a:t>
          </a:r>
        </a:p>
        <a:p>
          <a:r>
            <a:rPr lang="fr-FR" sz="2000" kern="1200" dirty="0">
              <a:latin typeface="Arial" panose="020B0604020202020204" pitchFamily="34" charset="0"/>
              <a:cs typeface="Arial" panose="020B0604020202020204" pitchFamily="34" charset="0"/>
            </a:rPr>
            <a:t>	- 2182 – Matériel de transport</a:t>
          </a:r>
        </a:p>
        <a:p>
          <a:r>
            <a:rPr lang="fr-FR" sz="2000" kern="1200" dirty="0">
              <a:latin typeface="Arial" panose="020B0604020202020204" pitchFamily="34" charset="0"/>
              <a:cs typeface="Arial" panose="020B0604020202020204" pitchFamily="34" charset="0"/>
            </a:rPr>
            <a:t>	- 2183 – Matériel de bureau et matériel informatique</a:t>
          </a:r>
        </a:p>
        <a:p>
          <a:r>
            <a:rPr lang="fr-FR" sz="2000" kern="1200" dirty="0">
              <a:latin typeface="Arial" panose="020B0604020202020204" pitchFamily="34" charset="0"/>
              <a:cs typeface="Arial" panose="020B0604020202020204" pitchFamily="34" charset="0"/>
            </a:rPr>
            <a:t>	- 2184 – Mobilier</a:t>
          </a:r>
        </a:p>
        <a:p>
          <a:r>
            <a:rPr lang="fr-FR" sz="2000" kern="1200" dirty="0">
              <a:latin typeface="Arial" panose="020B0604020202020204" pitchFamily="34" charset="0"/>
              <a:cs typeface="Arial" panose="020B0604020202020204" pitchFamily="34" charset="0"/>
            </a:rPr>
            <a:t>	- 2185 – Cheptel</a:t>
          </a:r>
        </a:p>
      </dgm:t>
    </dgm:pt>
    <dgm:pt modelId="{C2C3550A-F1DD-4C8C-85ED-D96508225E30}" type="parTrans" cxnId="{E06F28F0-0187-4070-8490-6E6A76C82FBA}">
      <dgm:prSet/>
      <dgm:spPr/>
      <dgm:t>
        <a:bodyPr/>
        <a:lstStyle/>
        <a:p>
          <a:endParaRPr lang="fr-FR"/>
        </a:p>
      </dgm:t>
    </dgm:pt>
    <dgm:pt modelId="{19CBF419-9E92-4D5F-A934-D88F01C9054D}" type="sibTrans" cxnId="{E06F28F0-0187-4070-8490-6E6A76C82FBA}">
      <dgm:prSet/>
      <dgm:spPr/>
      <dgm:t>
        <a:bodyPr/>
        <a:lstStyle/>
        <a:p>
          <a:endParaRPr lang="fr-FR"/>
        </a:p>
      </dgm:t>
    </dgm:pt>
    <dgm:pt modelId="{DE71EF63-F0A2-4E1F-9EFF-6CF466F74FE1}" type="pres">
      <dgm:prSet presAssocID="{787C544D-3023-4F60-B53C-768C848DCD54}" presName="outerComposite" presStyleCnt="0">
        <dgm:presLayoutVars>
          <dgm:chMax val="5"/>
          <dgm:dir/>
          <dgm:resizeHandles val="exact"/>
        </dgm:presLayoutVars>
      </dgm:prSet>
      <dgm:spPr/>
    </dgm:pt>
    <dgm:pt modelId="{B64CC261-BD97-4DFF-9209-B3228AAB22D4}" type="pres">
      <dgm:prSet presAssocID="{787C544D-3023-4F60-B53C-768C848DCD54}" presName="dummyMaxCanvas" presStyleCnt="0">
        <dgm:presLayoutVars/>
      </dgm:prSet>
      <dgm:spPr/>
    </dgm:pt>
    <dgm:pt modelId="{67D84562-8FA5-49BC-8F2E-C4E3ABC0F302}" type="pres">
      <dgm:prSet presAssocID="{787C544D-3023-4F60-B53C-768C848DCD54}" presName="OneNode_1" presStyleLbl="node1" presStyleIdx="0" presStyleCnt="1" custScaleY="200000">
        <dgm:presLayoutVars>
          <dgm:bulletEnabled val="1"/>
        </dgm:presLayoutVars>
      </dgm:prSet>
      <dgm:spPr/>
    </dgm:pt>
  </dgm:ptLst>
  <dgm:cxnLst>
    <dgm:cxn modelId="{CE416505-0FAC-4AAF-AC05-B853CC37A930}" type="presOf" srcId="{787C544D-3023-4F60-B53C-768C848DCD54}" destId="{DE71EF63-F0A2-4E1F-9EFF-6CF466F74FE1}" srcOrd="0" destOrd="0" presId="urn:microsoft.com/office/officeart/2005/8/layout/vProcess5"/>
    <dgm:cxn modelId="{CBB5A1BD-36F8-468B-A910-A548017FF346}" type="presOf" srcId="{7246902C-F380-4244-A491-559EECE887E9}" destId="{67D84562-8FA5-49BC-8F2E-C4E3ABC0F302}" srcOrd="0" destOrd="0" presId="urn:microsoft.com/office/officeart/2005/8/layout/vProcess5"/>
    <dgm:cxn modelId="{E06F28F0-0187-4070-8490-6E6A76C82FBA}" srcId="{787C544D-3023-4F60-B53C-768C848DCD54}" destId="{7246902C-F380-4244-A491-559EECE887E9}" srcOrd="0" destOrd="0" parTransId="{C2C3550A-F1DD-4C8C-85ED-D96508225E30}" sibTransId="{19CBF419-9E92-4D5F-A934-D88F01C9054D}"/>
    <dgm:cxn modelId="{9F5EF7D9-55FA-4E61-9B83-5BE7CAEA6159}" type="presParOf" srcId="{DE71EF63-F0A2-4E1F-9EFF-6CF466F74FE1}" destId="{B64CC261-BD97-4DFF-9209-B3228AAB22D4}" srcOrd="0" destOrd="0" presId="urn:microsoft.com/office/officeart/2005/8/layout/vProcess5"/>
    <dgm:cxn modelId="{2024F099-8755-43F5-86F0-0F2B1D2DD014}" type="presParOf" srcId="{DE71EF63-F0A2-4E1F-9EFF-6CF466F74FE1}" destId="{67D84562-8FA5-49BC-8F2E-C4E3ABC0F302}" srcOrd="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D613CB9-3A4C-4939-93D5-E83E0F65FD04}">
      <dsp:nvSpPr>
        <dsp:cNvPr id="0" name=""/>
        <dsp:cNvSpPr/>
      </dsp:nvSpPr>
      <dsp:spPr>
        <a:xfrm>
          <a:off x="0" y="464019"/>
          <a:ext cx="6096000" cy="781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5037305-83E3-4787-AC55-511F1C9187EA}">
      <dsp:nvSpPr>
        <dsp:cNvPr id="0" name=""/>
        <dsp:cNvSpPr/>
      </dsp:nvSpPr>
      <dsp:spPr>
        <a:xfrm>
          <a:off x="304800" y="6459"/>
          <a:ext cx="4267200" cy="9151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marL="0" lvl="0" indent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100" kern="1200" dirty="0"/>
            <a:t>Compte de résultat</a:t>
          </a:r>
        </a:p>
      </dsp:txBody>
      <dsp:txXfrm>
        <a:off x="349472" y="51131"/>
        <a:ext cx="4177856" cy="825776"/>
      </dsp:txXfrm>
    </dsp:sp>
    <dsp:sp modelId="{4447E237-EF9A-4AE3-881D-3EED36507D87}">
      <dsp:nvSpPr>
        <dsp:cNvPr id="0" name=""/>
        <dsp:cNvSpPr/>
      </dsp:nvSpPr>
      <dsp:spPr>
        <a:xfrm>
          <a:off x="0" y="1870179"/>
          <a:ext cx="6096000" cy="781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9052732-6FC8-4008-9C37-CF24C363BF22}">
      <dsp:nvSpPr>
        <dsp:cNvPr id="0" name=""/>
        <dsp:cNvSpPr/>
      </dsp:nvSpPr>
      <dsp:spPr>
        <a:xfrm>
          <a:off x="304800" y="1412619"/>
          <a:ext cx="4267200" cy="9151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marL="0" lvl="0" indent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100" kern="1200" dirty="0"/>
            <a:t>Bilan</a:t>
          </a:r>
        </a:p>
      </dsp:txBody>
      <dsp:txXfrm>
        <a:off x="349472" y="1457291"/>
        <a:ext cx="4177856" cy="825776"/>
      </dsp:txXfrm>
    </dsp:sp>
    <dsp:sp modelId="{C882D4E8-0B22-4B6C-923B-0EC6267CCECD}">
      <dsp:nvSpPr>
        <dsp:cNvPr id="0" name=""/>
        <dsp:cNvSpPr/>
      </dsp:nvSpPr>
      <dsp:spPr>
        <a:xfrm>
          <a:off x="0" y="3276340"/>
          <a:ext cx="6096000" cy="781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12F8742-EB25-4059-8359-A210A523DEB7}">
      <dsp:nvSpPr>
        <dsp:cNvPr id="0" name=""/>
        <dsp:cNvSpPr/>
      </dsp:nvSpPr>
      <dsp:spPr>
        <a:xfrm>
          <a:off x="304800" y="2818780"/>
          <a:ext cx="4267200" cy="9151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marL="0" lvl="0" indent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100" kern="1200" dirty="0"/>
            <a:t>Annexes</a:t>
          </a:r>
        </a:p>
      </dsp:txBody>
      <dsp:txXfrm>
        <a:off x="349472" y="2863452"/>
        <a:ext cx="4177856" cy="825776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D84562-8FA5-49BC-8F2E-C4E3ABC0F302}">
      <dsp:nvSpPr>
        <dsp:cNvPr id="0" name=""/>
        <dsp:cNvSpPr/>
      </dsp:nvSpPr>
      <dsp:spPr>
        <a:xfrm>
          <a:off x="0" y="0"/>
          <a:ext cx="9812555" cy="381418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>
              <a:latin typeface="Arial" panose="020B0604020202020204" pitchFamily="34" charset="0"/>
              <a:cs typeface="Arial" panose="020B0604020202020204" pitchFamily="34" charset="0"/>
            </a:rPr>
            <a:t>26 - Participations et créances rattachées à des participations</a:t>
          </a:r>
        </a:p>
        <a:p>
          <a:pPr marL="0" lvl="0" indent="0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>
              <a:latin typeface="Arial" panose="020B0604020202020204" pitchFamily="34" charset="0"/>
              <a:cs typeface="Arial" panose="020B0604020202020204" pitchFamily="34" charset="0"/>
            </a:rPr>
            <a:t>	- 261 - Titres de participation</a:t>
          </a:r>
        </a:p>
        <a:p>
          <a:pPr marL="0" lvl="0" indent="0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>
              <a:latin typeface="Arial" panose="020B0604020202020204" pitchFamily="34" charset="0"/>
              <a:cs typeface="Arial" panose="020B0604020202020204" pitchFamily="34" charset="0"/>
            </a:rPr>
            <a:t>27 - Autres immobilisations financières</a:t>
          </a:r>
        </a:p>
        <a:p>
          <a:pPr marL="0" lvl="0" indent="0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>
              <a:latin typeface="Arial" panose="020B0604020202020204" pitchFamily="34" charset="0"/>
              <a:cs typeface="Arial" panose="020B0604020202020204" pitchFamily="34" charset="0"/>
            </a:rPr>
            <a:t>	- 271 - Titres immobilisés autres que les TIAP</a:t>
          </a:r>
        </a:p>
        <a:p>
          <a:pPr marL="0" lvl="0" indent="0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>
              <a:latin typeface="Arial" panose="020B0604020202020204" pitchFamily="34" charset="0"/>
              <a:cs typeface="Arial" panose="020B0604020202020204" pitchFamily="34" charset="0"/>
            </a:rPr>
            <a:t>273 - Titres immobilisés de l'activité de portefeuille ( TIAP)</a:t>
          </a:r>
        </a:p>
        <a:p>
          <a:pPr marL="0" lvl="0" indent="0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>
              <a:latin typeface="Arial" panose="020B0604020202020204" pitchFamily="34" charset="0"/>
              <a:cs typeface="Arial" panose="020B0604020202020204" pitchFamily="34" charset="0"/>
            </a:rPr>
            <a:t>274 – Prêts</a:t>
          </a:r>
        </a:p>
        <a:p>
          <a:pPr marL="0" lvl="0" indent="0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>
              <a:latin typeface="Arial" panose="020B0604020202020204" pitchFamily="34" charset="0"/>
              <a:cs typeface="Arial" panose="020B0604020202020204" pitchFamily="34" charset="0"/>
            </a:rPr>
            <a:t>	- 2741 - Prêts participatifs</a:t>
          </a:r>
        </a:p>
        <a:p>
          <a:pPr marL="0" lvl="0" indent="0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>
              <a:latin typeface="Arial" panose="020B0604020202020204" pitchFamily="34" charset="0"/>
              <a:cs typeface="Arial" panose="020B0604020202020204" pitchFamily="34" charset="0"/>
            </a:rPr>
            <a:t>	- 2742 - Prêts aux associés</a:t>
          </a:r>
        </a:p>
        <a:p>
          <a:pPr marL="0" lvl="0" indent="0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>
              <a:latin typeface="Arial" panose="020B0604020202020204" pitchFamily="34" charset="0"/>
              <a:cs typeface="Arial" panose="020B0604020202020204" pitchFamily="34" charset="0"/>
            </a:rPr>
            <a:t>	- 2743 - Prêts au personnel</a:t>
          </a:r>
        </a:p>
        <a:p>
          <a:pPr marL="0" lvl="0" indent="0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>
              <a:latin typeface="Arial" panose="020B0604020202020204" pitchFamily="34" charset="0"/>
              <a:cs typeface="Arial" panose="020B0604020202020204" pitchFamily="34" charset="0"/>
            </a:rPr>
            <a:t>275 - Dépôts et cautionnements versés</a:t>
          </a:r>
          <a:endParaRPr lang="fr-FR" sz="2000" kern="1200" dirty="0"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111714" y="111714"/>
        <a:ext cx="9589127" cy="3590756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D84562-8FA5-49BC-8F2E-C4E3ABC0F302}">
      <dsp:nvSpPr>
        <dsp:cNvPr id="0" name=""/>
        <dsp:cNvSpPr/>
      </dsp:nvSpPr>
      <dsp:spPr>
        <a:xfrm>
          <a:off x="0" y="0"/>
          <a:ext cx="9812555" cy="381418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kern="1200" dirty="0">
              <a:latin typeface="Arial" panose="020B0604020202020204" pitchFamily="34" charset="0"/>
              <a:cs typeface="Arial" panose="020B0604020202020204" pitchFamily="34" charset="0"/>
            </a:rPr>
            <a:t>8 (2eme position) =&gt; amortissement</a:t>
          </a:r>
        </a:p>
        <a:p>
          <a:pPr marL="0" lvl="0" indent="0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kern="1200" dirty="0">
              <a:latin typeface="Arial" panose="020B0604020202020204" pitchFamily="34" charset="0"/>
              <a:cs typeface="Arial" panose="020B0604020202020204" pitchFamily="34" charset="0"/>
            </a:rPr>
            <a:t>	- 2182 – Matériel de transport</a:t>
          </a:r>
        </a:p>
        <a:p>
          <a:pPr marL="0" lvl="0" indent="0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kern="1200" dirty="0">
              <a:latin typeface="Arial" panose="020B0604020202020204" pitchFamily="34" charset="0"/>
              <a:cs typeface="Arial" panose="020B0604020202020204" pitchFamily="34" charset="0"/>
            </a:rPr>
            <a:t>	- 2</a:t>
          </a:r>
          <a:r>
            <a:rPr lang="fr-FR" sz="2800" kern="1200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rPr>
            <a:t>8</a:t>
          </a:r>
          <a:r>
            <a:rPr lang="fr-FR" sz="2800" kern="1200" dirty="0">
              <a:latin typeface="Arial" panose="020B0604020202020204" pitchFamily="34" charset="0"/>
              <a:cs typeface="Arial" panose="020B0604020202020204" pitchFamily="34" charset="0"/>
            </a:rPr>
            <a:t>182 – Amortissement du matériel de transport</a:t>
          </a:r>
        </a:p>
        <a:p>
          <a:pPr marL="0" lvl="0" indent="0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28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0" lvl="0" indent="0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kern="1200" dirty="0">
              <a:latin typeface="Arial" panose="020B0604020202020204" pitchFamily="34" charset="0"/>
              <a:cs typeface="Arial" panose="020B0604020202020204" pitchFamily="34" charset="0"/>
            </a:rPr>
            <a:t>9 (2eme position) =&gt; dépréciation</a:t>
          </a:r>
        </a:p>
        <a:p>
          <a:pPr marL="0" lvl="0" indent="0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kern="1200" dirty="0">
              <a:latin typeface="Arial" panose="020B0604020202020204" pitchFamily="34" charset="0"/>
              <a:cs typeface="Arial" panose="020B0604020202020204" pitchFamily="34" charset="0"/>
            </a:rPr>
            <a:t>- 211 – Terrain</a:t>
          </a:r>
        </a:p>
        <a:p>
          <a:pPr marL="0" lvl="0" indent="0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kern="1200" dirty="0">
              <a:latin typeface="Arial" panose="020B0604020202020204" pitchFamily="34" charset="0"/>
              <a:cs typeface="Arial" panose="020B0604020202020204" pitchFamily="34" charset="0"/>
            </a:rPr>
            <a:t>- 2</a:t>
          </a:r>
          <a:r>
            <a:rPr lang="fr-FR" sz="2800" kern="1200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rPr>
            <a:t>9</a:t>
          </a:r>
          <a:r>
            <a:rPr lang="fr-FR" sz="2800" kern="1200" dirty="0">
              <a:latin typeface="Arial" panose="020B0604020202020204" pitchFamily="34" charset="0"/>
              <a:cs typeface="Arial" panose="020B0604020202020204" pitchFamily="34" charset="0"/>
            </a:rPr>
            <a:t>11 – dépréciation du terrain</a:t>
          </a:r>
          <a:endParaRPr lang="fr-FR" sz="2000" kern="1200" dirty="0"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111714" y="111714"/>
        <a:ext cx="9589127" cy="3590756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D84562-8FA5-49BC-8F2E-C4E3ABC0F302}">
      <dsp:nvSpPr>
        <dsp:cNvPr id="0" name=""/>
        <dsp:cNvSpPr/>
      </dsp:nvSpPr>
      <dsp:spPr>
        <a:xfrm>
          <a:off x="0" y="0"/>
          <a:ext cx="9812555" cy="381418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kern="1200" dirty="0">
              <a:latin typeface="Arial" panose="020B0604020202020204" pitchFamily="34" charset="0"/>
              <a:cs typeface="Arial" panose="020B0604020202020204" pitchFamily="34" charset="0"/>
            </a:rPr>
            <a:t>31 - Matières premières (et fournitures)</a:t>
          </a:r>
        </a:p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kern="1200" dirty="0">
              <a:latin typeface="Arial" panose="020B0604020202020204" pitchFamily="34" charset="0"/>
              <a:cs typeface="Arial" panose="020B0604020202020204" pitchFamily="34" charset="0"/>
            </a:rPr>
            <a:t>32 - Autres approvisionnements</a:t>
          </a:r>
        </a:p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kern="1200" dirty="0">
              <a:latin typeface="Arial" panose="020B0604020202020204" pitchFamily="34" charset="0"/>
              <a:ea typeface="+mn-ea"/>
              <a:cs typeface="Arial" panose="020B0604020202020204" pitchFamily="34" charset="0"/>
            </a:rPr>
            <a:t>33 - En-cours de production de biens</a:t>
          </a:r>
        </a:p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kern="1200" dirty="0">
              <a:latin typeface="Arial" panose="020B0604020202020204" pitchFamily="34" charset="0"/>
              <a:ea typeface="+mn-ea"/>
              <a:cs typeface="Arial" panose="020B0604020202020204" pitchFamily="34" charset="0"/>
            </a:rPr>
            <a:t>34 - En-cours de production de services</a:t>
          </a:r>
        </a:p>
        <a:p>
          <a:pPr marL="0" lvl="0" indent="0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kern="1200" dirty="0">
              <a:latin typeface="Arial" panose="020B0604020202020204" pitchFamily="34" charset="0"/>
              <a:ea typeface="+mn-ea"/>
              <a:cs typeface="Arial" panose="020B0604020202020204" pitchFamily="34" charset="0"/>
            </a:rPr>
            <a:t>35 - Stocks de produits</a:t>
          </a:r>
        </a:p>
        <a:p>
          <a:pPr marL="0" lvl="0" indent="0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kern="1200" dirty="0">
              <a:latin typeface="Arial" panose="020B0604020202020204" pitchFamily="34" charset="0"/>
              <a:ea typeface="+mn-ea"/>
              <a:cs typeface="Arial" panose="020B0604020202020204" pitchFamily="34" charset="0"/>
            </a:rPr>
            <a:t>37 - Stocks de marchandises</a:t>
          </a:r>
          <a:endParaRPr lang="fr-FR" sz="2000" kern="1200" dirty="0"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111714" y="111714"/>
        <a:ext cx="9589127" cy="3590756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D84562-8FA5-49BC-8F2E-C4E3ABC0F302}">
      <dsp:nvSpPr>
        <dsp:cNvPr id="0" name=""/>
        <dsp:cNvSpPr/>
      </dsp:nvSpPr>
      <dsp:spPr>
        <a:xfrm>
          <a:off x="0" y="0"/>
          <a:ext cx="9812555" cy="381418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b="1" u="none" kern="1200" dirty="0"/>
            <a:t>4091 - </a:t>
          </a:r>
          <a:r>
            <a:rPr lang="x-none" sz="2800" b="1" u="none" kern="1200" dirty="0"/>
            <a:t>Les avances et acomptes versés sur commandes </a:t>
          </a:r>
          <a:endParaRPr lang="fr-FR" sz="2800" b="1" u="none" kern="1200" dirty="0"/>
        </a:p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b="1" u="none" kern="1200" dirty="0"/>
            <a:t>411 - </a:t>
          </a:r>
          <a:r>
            <a:rPr lang="x-none" sz="2800" b="1" u="none" kern="1200" dirty="0"/>
            <a:t>Les créances clients et comptes rattachés </a:t>
          </a:r>
          <a:endParaRPr lang="fr-FR" sz="2800" b="1" u="none" kern="1200" dirty="0"/>
        </a:p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u="none" kern="1200" dirty="0"/>
            <a:t>D’un point de vue comptable, un client est une personne qui n’a pas encore réglé la totalité de sa facture.</a:t>
          </a:r>
        </a:p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b="1" u="none" kern="1200" dirty="0"/>
            <a:t>42 – Personnel</a:t>
          </a:r>
        </a:p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b="1" u="none" kern="1200" dirty="0"/>
            <a:t>43 – Organismes sociaux</a:t>
          </a:r>
        </a:p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b="1" u="none" kern="1200" dirty="0"/>
            <a:t>44 – Etat dont TVA</a:t>
          </a:r>
        </a:p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b="1" u="none" kern="1200" dirty="0"/>
            <a:t>45 – 46 - </a:t>
          </a:r>
          <a:r>
            <a:rPr lang="x-none" sz="2800" b="1" u="none" kern="1200" dirty="0"/>
            <a:t>Autres créances</a:t>
          </a:r>
          <a:r>
            <a:rPr lang="fr-FR" sz="2800" b="1" u="none" kern="1200" dirty="0"/>
            <a:t>  =&gt;  </a:t>
          </a:r>
          <a:r>
            <a:rPr lang="fr-FR" sz="2800" b="1" u="none" kern="1200" dirty="0">
              <a:highlight>
                <a:srgbClr val="FF0000"/>
              </a:highlight>
              <a:latin typeface="Arial" panose="020B0604020202020204" pitchFamily="34" charset="0"/>
              <a:ea typeface="+mn-ea"/>
              <a:cs typeface="Arial" panose="020B0604020202020204" pitchFamily="34" charset="0"/>
            </a:rPr>
            <a:t>471 - ?</a:t>
          </a:r>
          <a:endParaRPr lang="fr-FR" sz="2000" u="none" kern="1200" dirty="0">
            <a:highlight>
              <a:srgbClr val="FF0000"/>
            </a:highlight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111714" y="111714"/>
        <a:ext cx="9589127" cy="3590756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D84562-8FA5-49BC-8F2E-C4E3ABC0F302}">
      <dsp:nvSpPr>
        <dsp:cNvPr id="0" name=""/>
        <dsp:cNvSpPr/>
      </dsp:nvSpPr>
      <dsp:spPr>
        <a:xfrm>
          <a:off x="0" y="0"/>
          <a:ext cx="9812555" cy="381418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b="1" u="none" kern="1200" dirty="0"/>
            <a:t>50 - VMP</a:t>
          </a:r>
          <a:r>
            <a:rPr lang="x-none" sz="2800" b="1" u="none" kern="1200" dirty="0"/>
            <a:t> </a:t>
          </a:r>
          <a:endParaRPr lang="fr-FR" sz="2800" b="1" u="none" kern="1200" dirty="0"/>
        </a:p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b="1" u="none" kern="1200" dirty="0"/>
            <a:t>51 - Banques, établissements financiers et assimilés</a:t>
          </a:r>
        </a:p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b="1" u="none" kern="1200" dirty="0"/>
            <a:t>53 – Caisse</a:t>
          </a:r>
        </a:p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b="1" u="none" kern="1200" dirty="0"/>
            <a:t>58 – Virements internes</a:t>
          </a:r>
        </a:p>
      </dsp:txBody>
      <dsp:txXfrm>
        <a:off x="111714" y="111714"/>
        <a:ext cx="9589127" cy="3590756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D84562-8FA5-49BC-8F2E-C4E3ABC0F302}">
      <dsp:nvSpPr>
        <dsp:cNvPr id="0" name=""/>
        <dsp:cNvSpPr/>
      </dsp:nvSpPr>
      <dsp:spPr>
        <a:xfrm>
          <a:off x="0" y="0"/>
          <a:ext cx="9812555" cy="381418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b="1" u="none" kern="1200" dirty="0"/>
            <a:t>101 – Capital</a:t>
          </a:r>
        </a:p>
        <a:p>
          <a:pPr marL="0" lvl="0" indent="0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b="1" u="none" kern="1200" dirty="0"/>
            <a:t>106 – Réserve légale</a:t>
          </a:r>
        </a:p>
        <a:p>
          <a:pPr marL="0" lvl="0" indent="0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b="1" u="none" kern="1200" dirty="0"/>
            <a:t>1063 – Réserves statutaires</a:t>
          </a:r>
          <a:r>
            <a:rPr lang="x-none" sz="2800" b="1" u="none" kern="1200" dirty="0"/>
            <a:t> </a:t>
          </a:r>
          <a:endParaRPr lang="fr-FR" sz="2800" b="1" u="none" kern="1200" dirty="0"/>
        </a:p>
        <a:p>
          <a:pPr marL="0" lvl="0" indent="0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b="1" u="none" kern="1200" dirty="0"/>
            <a:t>1068 – Autres réserves</a:t>
          </a:r>
          <a:r>
            <a:rPr lang="x-none" sz="2800" b="1" u="none" kern="1200" dirty="0"/>
            <a:t> </a:t>
          </a:r>
          <a:endParaRPr lang="fr-FR" sz="2800" b="1" u="none" kern="1200" dirty="0"/>
        </a:p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b="1" u="none" kern="1200" dirty="0"/>
            <a:t>108 – compte de l’exploitant</a:t>
          </a:r>
        </a:p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b="1" u="none" kern="1200" dirty="0"/>
            <a:t>110/119 – Report à nouveau</a:t>
          </a:r>
        </a:p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b="1" u="none" kern="1200" dirty="0"/>
            <a:t>120 - Résultat</a:t>
          </a:r>
        </a:p>
      </dsp:txBody>
      <dsp:txXfrm>
        <a:off x="111714" y="111714"/>
        <a:ext cx="9589127" cy="3590756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D84562-8FA5-49BC-8F2E-C4E3ABC0F302}">
      <dsp:nvSpPr>
        <dsp:cNvPr id="0" name=""/>
        <dsp:cNvSpPr/>
      </dsp:nvSpPr>
      <dsp:spPr>
        <a:xfrm>
          <a:off x="0" y="0"/>
          <a:ext cx="9812555" cy="381418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b="1" u="none" kern="1200" dirty="0"/>
            <a:t>131 – Subventions d’équipement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fr-FR" sz="2800" b="1" u="none" kern="1200" dirty="0"/>
            <a:t>14 - Provisions réglementées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fr-FR" sz="2800" b="1" u="none" kern="1200" dirty="0"/>
            <a:t>	Dont 145 - Amortissements dérogatoires</a:t>
          </a:r>
        </a:p>
        <a:p>
          <a:pPr marL="0"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b="1" u="none" kern="1200" dirty="0"/>
            <a:t>15 – Provisions pour risques et charges</a:t>
          </a:r>
        </a:p>
      </dsp:txBody>
      <dsp:txXfrm>
        <a:off x="111714" y="111714"/>
        <a:ext cx="9589127" cy="3590756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D84562-8FA5-49BC-8F2E-C4E3ABC0F302}">
      <dsp:nvSpPr>
        <dsp:cNvPr id="0" name=""/>
        <dsp:cNvSpPr/>
      </dsp:nvSpPr>
      <dsp:spPr>
        <a:xfrm>
          <a:off x="0" y="0"/>
          <a:ext cx="9812555" cy="381418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b="1" u="none" kern="1200" dirty="0"/>
            <a:t>131 – Subventions d’équipement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fr-FR" sz="2800" b="1" u="none" kern="1200" dirty="0"/>
            <a:t>14 - Provisions réglementées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fr-FR" sz="2800" b="1" u="none" kern="1200" dirty="0"/>
            <a:t>	Dont 145 - Amortissements dérogatoires</a:t>
          </a:r>
        </a:p>
        <a:p>
          <a:pPr marL="0"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b="1" u="none" kern="1200" dirty="0"/>
            <a:t>15 – Provisions pour risques et charges</a:t>
          </a:r>
        </a:p>
        <a:p>
          <a:pPr marL="0"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b="1" u="none" kern="1200" dirty="0"/>
            <a:t>16 - Emprunts et dettes assimilées</a:t>
          </a:r>
        </a:p>
      </dsp:txBody>
      <dsp:txXfrm>
        <a:off x="111714" y="111714"/>
        <a:ext cx="9589127" cy="3590756"/>
      </dsp:txXfrm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D84562-8FA5-49BC-8F2E-C4E3ABC0F302}">
      <dsp:nvSpPr>
        <dsp:cNvPr id="0" name=""/>
        <dsp:cNvSpPr/>
      </dsp:nvSpPr>
      <dsp:spPr>
        <a:xfrm>
          <a:off x="0" y="0"/>
          <a:ext cx="9812555" cy="381418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b="1" u="none" kern="1200" dirty="0"/>
            <a:t>400 - Fournisseurs et comptes rattachés</a:t>
          </a:r>
        </a:p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b="1" u="none" kern="1200" dirty="0"/>
            <a:t>42 – Personnel</a:t>
          </a:r>
        </a:p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b="1" u="none" kern="1200" dirty="0"/>
            <a:t>43 – Organismes sociaux</a:t>
          </a:r>
        </a:p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b="1" u="none" kern="1200" dirty="0"/>
            <a:t>44 – Etat dont TVA</a:t>
          </a:r>
        </a:p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b="1" u="none" kern="1200" dirty="0"/>
            <a:t>45 – 46 - </a:t>
          </a:r>
          <a:r>
            <a:rPr lang="x-none" sz="2800" b="1" u="none" kern="1200" dirty="0"/>
            <a:t>Autres créances</a:t>
          </a:r>
          <a:r>
            <a:rPr lang="fr-FR" sz="2800" b="1" u="none" kern="1200" dirty="0"/>
            <a:t> dont c/c associé </a:t>
          </a:r>
        </a:p>
      </dsp:txBody>
      <dsp:txXfrm>
        <a:off x="111714" y="111714"/>
        <a:ext cx="9589127" cy="359075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502E5F-ADC4-43B6-BEF1-4D4D5F71A189}">
      <dsp:nvSpPr>
        <dsp:cNvPr id="0" name=""/>
        <dsp:cNvSpPr/>
      </dsp:nvSpPr>
      <dsp:spPr>
        <a:xfrm>
          <a:off x="1876528" y="0"/>
          <a:ext cx="1970138" cy="1094521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200" b="1" kern="1200" dirty="0"/>
            <a:t>Ce que Albane possède :</a:t>
          </a:r>
        </a:p>
      </dsp:txBody>
      <dsp:txXfrm>
        <a:off x="1908585" y="32057"/>
        <a:ext cx="1906024" cy="1030407"/>
      </dsp:txXfrm>
    </dsp:sp>
    <dsp:sp modelId="{65EA2CAC-9328-422B-BBC9-274A677E2BAD}">
      <dsp:nvSpPr>
        <dsp:cNvPr id="0" name=""/>
        <dsp:cNvSpPr/>
      </dsp:nvSpPr>
      <dsp:spPr>
        <a:xfrm>
          <a:off x="4722284" y="0"/>
          <a:ext cx="1970138" cy="1094521"/>
        </a:xfrm>
        <a:prstGeom prst="roundRect">
          <a:avLst>
            <a:gd name="adj" fmla="val 10000"/>
          </a:avLst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200" b="1" kern="1200" dirty="0"/>
            <a:t>Ce que Albane doit :</a:t>
          </a:r>
        </a:p>
      </dsp:txBody>
      <dsp:txXfrm>
        <a:off x="4754341" y="32057"/>
        <a:ext cx="1906024" cy="1030407"/>
      </dsp:txXfrm>
    </dsp:sp>
    <dsp:sp modelId="{CA27272F-033C-4CF1-AF28-76BE091CF83A}">
      <dsp:nvSpPr>
        <dsp:cNvPr id="0" name=""/>
        <dsp:cNvSpPr/>
      </dsp:nvSpPr>
      <dsp:spPr>
        <a:xfrm>
          <a:off x="3874030" y="4651716"/>
          <a:ext cx="820891" cy="820891"/>
        </a:xfrm>
        <a:prstGeom prst="triangle">
          <a:avLst/>
        </a:prstGeom>
        <a:solidFill>
          <a:schemeClr val="accent4">
            <a:tint val="40000"/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4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A124DC65-472B-4F50-876F-755DF4C0630D}">
      <dsp:nvSpPr>
        <dsp:cNvPr id="0" name=""/>
        <dsp:cNvSpPr/>
      </dsp:nvSpPr>
      <dsp:spPr>
        <a:xfrm rot="21360000">
          <a:off x="1821050" y="4299955"/>
          <a:ext cx="4926851" cy="344519"/>
        </a:xfrm>
        <a:prstGeom prst="rect">
          <a:avLst/>
        </a:prstGeom>
        <a:solidFill>
          <a:schemeClr val="accent5">
            <a:tint val="40000"/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F5F149E6-3B26-474C-B144-126E135DAA12}">
      <dsp:nvSpPr>
        <dsp:cNvPr id="0" name=""/>
        <dsp:cNvSpPr/>
      </dsp:nvSpPr>
      <dsp:spPr>
        <a:xfrm rot="21360000">
          <a:off x="1823988" y="3438573"/>
          <a:ext cx="1965767" cy="915846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b="1" kern="1200" dirty="0"/>
            <a:t>Argent à la banque : 5 300 €</a:t>
          </a:r>
        </a:p>
      </dsp:txBody>
      <dsp:txXfrm>
        <a:off x="1868696" y="3483281"/>
        <a:ext cx="1876351" cy="826430"/>
      </dsp:txXfrm>
    </dsp:sp>
    <dsp:sp modelId="{85776943-5122-47FA-B63C-9C56CCA363A0}">
      <dsp:nvSpPr>
        <dsp:cNvPr id="0" name=""/>
        <dsp:cNvSpPr/>
      </dsp:nvSpPr>
      <dsp:spPr>
        <a:xfrm rot="21360000">
          <a:off x="1752844" y="2453504"/>
          <a:ext cx="1965767" cy="915846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b="1" kern="1200" dirty="0"/>
            <a:t>Voiture :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b="1" kern="1200" dirty="0"/>
            <a:t>15 000 €</a:t>
          </a:r>
        </a:p>
      </dsp:txBody>
      <dsp:txXfrm>
        <a:off x="1797552" y="2498212"/>
        <a:ext cx="1876351" cy="826430"/>
      </dsp:txXfrm>
    </dsp:sp>
    <dsp:sp modelId="{580C8E3B-461B-4168-B490-B0D66AA19163}">
      <dsp:nvSpPr>
        <dsp:cNvPr id="0" name=""/>
        <dsp:cNvSpPr/>
      </dsp:nvSpPr>
      <dsp:spPr>
        <a:xfrm rot="21360000">
          <a:off x="1681700" y="1490325"/>
          <a:ext cx="1965767" cy="915846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b="1" kern="1200" dirty="0"/>
            <a:t>Maison : 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b="1" kern="1200" dirty="0"/>
            <a:t>250 000 €</a:t>
          </a:r>
        </a:p>
      </dsp:txBody>
      <dsp:txXfrm>
        <a:off x="1726408" y="1535033"/>
        <a:ext cx="1876351" cy="826430"/>
      </dsp:txXfrm>
    </dsp:sp>
    <dsp:sp modelId="{D2B217B4-0B5C-4BF1-8021-E3FBFB976AF1}">
      <dsp:nvSpPr>
        <dsp:cNvPr id="0" name=""/>
        <dsp:cNvSpPr/>
      </dsp:nvSpPr>
      <dsp:spPr>
        <a:xfrm rot="21360000">
          <a:off x="4642381" y="3241559"/>
          <a:ext cx="1965767" cy="915846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b="1" kern="1200"/>
            <a:t>Emprunt bancaire pour financer sa maison : 93 000 €</a:t>
          </a:r>
          <a:endParaRPr lang="fr-FR" sz="1600" b="1" kern="1200" dirty="0"/>
        </a:p>
      </dsp:txBody>
      <dsp:txXfrm>
        <a:off x="4687089" y="3286267"/>
        <a:ext cx="1876351" cy="82643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40CFC1C-B419-481A-8807-02685D0F6E84}">
      <dsp:nvSpPr>
        <dsp:cNvPr id="0" name=""/>
        <dsp:cNvSpPr/>
      </dsp:nvSpPr>
      <dsp:spPr>
        <a:xfrm rot="5400000">
          <a:off x="4900246" y="-1545538"/>
          <a:ext cx="1951212" cy="5530214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4780" tIns="72390" rIns="144780" bIns="72390" numCol="1" spcCol="1270" anchor="ctr" anchorCtr="0">
          <a:noAutofit/>
        </a:bodyPr>
        <a:lstStyle/>
        <a:p>
          <a:pPr marL="285750" lvl="1" indent="-285750" algn="l" defTabSz="1689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3800" kern="1200" dirty="0"/>
            <a:t>Quelles sont les ressources allouées à l’entreprise ?</a:t>
          </a:r>
        </a:p>
      </dsp:txBody>
      <dsp:txXfrm rot="-5400000">
        <a:off x="3110745" y="339213"/>
        <a:ext cx="5434964" cy="1760712"/>
      </dsp:txXfrm>
    </dsp:sp>
    <dsp:sp modelId="{0C7F3F9E-FD32-40BD-B42D-FB722A99A169}">
      <dsp:nvSpPr>
        <dsp:cNvPr id="0" name=""/>
        <dsp:cNvSpPr/>
      </dsp:nvSpPr>
      <dsp:spPr>
        <a:xfrm>
          <a:off x="0" y="61"/>
          <a:ext cx="3110745" cy="2439015"/>
        </a:xfrm>
        <a:prstGeom prst="roundRect">
          <a:avLst/>
        </a:prstGeom>
        <a:gradFill rotWithShape="1">
          <a:gsLst>
            <a:gs pos="0">
              <a:schemeClr val="accent5">
                <a:satMod val="103000"/>
                <a:lumMod val="102000"/>
                <a:tint val="94000"/>
              </a:schemeClr>
            </a:gs>
            <a:gs pos="50000">
              <a:schemeClr val="accent5">
                <a:satMod val="110000"/>
                <a:lumMod val="100000"/>
                <a:shade val="100000"/>
              </a:schemeClr>
            </a:gs>
            <a:gs pos="100000">
              <a:schemeClr val="accent5"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hemeClr val="accent5"/>
        </a:lnRef>
        <a:fillRef idx="3">
          <a:schemeClr val="accent5"/>
        </a:fillRef>
        <a:effectRef idx="3">
          <a:schemeClr val="accent5"/>
        </a:effectRef>
        <a:fontRef idx="minor">
          <a:schemeClr val="lt1"/>
        </a:fontRef>
      </dsp:style>
      <dsp:txBody>
        <a:bodyPr spcFirstLastPara="0" vert="horz" wrap="square" lIns="175260" tIns="87630" rIns="175260" bIns="87630" numCol="1" spcCol="1270" anchor="ctr" anchorCtr="0">
          <a:noAutofit/>
        </a:bodyPr>
        <a:lstStyle/>
        <a:p>
          <a:pPr marL="0" lvl="0" indent="0" algn="ctr" defTabSz="2044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4600" b="1" kern="1200" dirty="0"/>
            <a:t>Où est notre argent ?</a:t>
          </a:r>
          <a:endParaRPr lang="fr-FR" sz="4600" kern="1200" dirty="0"/>
        </a:p>
      </dsp:txBody>
      <dsp:txXfrm>
        <a:off x="119063" y="119124"/>
        <a:ext cx="2872619" cy="2200889"/>
      </dsp:txXfrm>
    </dsp:sp>
    <dsp:sp modelId="{A8931A37-75F2-4CA8-8005-FB6EFF896877}">
      <dsp:nvSpPr>
        <dsp:cNvPr id="0" name=""/>
        <dsp:cNvSpPr/>
      </dsp:nvSpPr>
      <dsp:spPr>
        <a:xfrm rot="5400000">
          <a:off x="4900246" y="1015427"/>
          <a:ext cx="1951212" cy="5530214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4780" tIns="72390" rIns="144780" bIns="72390" numCol="1" spcCol="1270" anchor="ctr" anchorCtr="0">
          <a:noAutofit/>
        </a:bodyPr>
        <a:lstStyle/>
        <a:p>
          <a:pPr marL="285750" lvl="1" indent="-285750" algn="l" defTabSz="1689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3800" kern="1200" dirty="0"/>
            <a:t>Quel emplois en a-t-on fait ?</a:t>
          </a:r>
        </a:p>
      </dsp:txBody>
      <dsp:txXfrm rot="-5400000">
        <a:off x="3110745" y="2900178"/>
        <a:ext cx="5434964" cy="1760712"/>
      </dsp:txXfrm>
    </dsp:sp>
    <dsp:sp modelId="{462CE494-B682-4E0C-A8B2-4863B93F5345}">
      <dsp:nvSpPr>
        <dsp:cNvPr id="0" name=""/>
        <dsp:cNvSpPr/>
      </dsp:nvSpPr>
      <dsp:spPr>
        <a:xfrm>
          <a:off x="0" y="2561027"/>
          <a:ext cx="3110745" cy="2439015"/>
        </a:xfrm>
        <a:prstGeom prst="roundRect">
          <a:avLst/>
        </a:prstGeom>
        <a:gradFill rotWithShape="1">
          <a:gsLst>
            <a:gs pos="0">
              <a:schemeClr val="accent4">
                <a:satMod val="103000"/>
                <a:lumMod val="102000"/>
                <a:tint val="94000"/>
              </a:schemeClr>
            </a:gs>
            <a:gs pos="50000">
              <a:schemeClr val="accent4">
                <a:satMod val="110000"/>
                <a:lumMod val="100000"/>
                <a:shade val="100000"/>
              </a:schemeClr>
            </a:gs>
            <a:gs pos="100000">
              <a:schemeClr val="accent4"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hemeClr val="accent4"/>
        </a:lnRef>
        <a:fillRef idx="3">
          <a:schemeClr val="accent4"/>
        </a:fillRef>
        <a:effectRef idx="3">
          <a:schemeClr val="accent4"/>
        </a:effectRef>
        <a:fontRef idx="minor">
          <a:schemeClr val="lt1"/>
        </a:fontRef>
      </dsp:style>
      <dsp:txBody>
        <a:bodyPr spcFirstLastPara="0" vert="horz" wrap="square" lIns="175260" tIns="87630" rIns="175260" bIns="87630" numCol="1" spcCol="1270" anchor="ctr" anchorCtr="0">
          <a:noAutofit/>
        </a:bodyPr>
        <a:lstStyle/>
        <a:p>
          <a:pPr marL="0" lvl="0" indent="0" algn="ctr" defTabSz="2044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4600" b="1" kern="1200" dirty="0"/>
            <a:t>D’où vient notre argent ?</a:t>
          </a:r>
          <a:endParaRPr lang="fr-FR" sz="4600" kern="1200" dirty="0"/>
        </a:p>
      </dsp:txBody>
      <dsp:txXfrm>
        <a:off x="119063" y="2680090"/>
        <a:ext cx="2872619" cy="220088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B85DB6-AE50-4D8B-B838-D3746D1C3264}">
      <dsp:nvSpPr>
        <dsp:cNvPr id="0" name=""/>
        <dsp:cNvSpPr/>
      </dsp:nvSpPr>
      <dsp:spPr>
        <a:xfrm>
          <a:off x="3928" y="0"/>
          <a:ext cx="3778802" cy="341592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tint val="4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tint val="4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tint val="4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z="-190500" extrusionH="12700" prstMaterial="plastic">
          <a:bevelT w="50800" h="50800"/>
        </a:sp3d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9070" tIns="179070" rIns="179070" bIns="179070" numCol="1" spcCol="1270" anchor="ctr" anchorCtr="0">
          <a:noAutofit/>
        </a:bodyPr>
        <a:lstStyle/>
        <a:p>
          <a:pPr marL="0" lvl="0" indent="0" algn="ctr" defTabSz="2089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4700" kern="1200" dirty="0"/>
            <a:t>Emplois</a:t>
          </a:r>
        </a:p>
      </dsp:txBody>
      <dsp:txXfrm>
        <a:off x="3928" y="0"/>
        <a:ext cx="3778802" cy="1024778"/>
      </dsp:txXfrm>
    </dsp:sp>
    <dsp:sp modelId="{1FE8760B-01DB-4F98-80E7-81B3A33E5F3E}">
      <dsp:nvSpPr>
        <dsp:cNvPr id="0" name=""/>
        <dsp:cNvSpPr/>
      </dsp:nvSpPr>
      <dsp:spPr>
        <a:xfrm>
          <a:off x="381808" y="1024778"/>
          <a:ext cx="3023042" cy="2220353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5100" tIns="123825" rIns="165100" bIns="123825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500" kern="1200" dirty="0"/>
            <a:t>Banque</a:t>
          </a:r>
        </a:p>
      </dsp:txBody>
      <dsp:txXfrm>
        <a:off x="446840" y="1089810"/>
        <a:ext cx="2892978" cy="2090289"/>
      </dsp:txXfrm>
    </dsp:sp>
    <dsp:sp modelId="{5B76F528-19BE-4755-A206-C97EFC097114}">
      <dsp:nvSpPr>
        <dsp:cNvPr id="0" name=""/>
        <dsp:cNvSpPr/>
      </dsp:nvSpPr>
      <dsp:spPr>
        <a:xfrm>
          <a:off x="4066141" y="0"/>
          <a:ext cx="3778802" cy="341592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tint val="4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tint val="4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tint val="4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z="-190500" extrusionH="12700" prstMaterial="plastic">
          <a:bevelT w="50800" h="50800"/>
        </a:sp3d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9070" tIns="179070" rIns="179070" bIns="179070" numCol="1" spcCol="1270" anchor="ctr" anchorCtr="0">
          <a:noAutofit/>
        </a:bodyPr>
        <a:lstStyle/>
        <a:p>
          <a:pPr marL="0" lvl="0" indent="0" algn="ctr" defTabSz="2089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4700" kern="1200" dirty="0"/>
            <a:t>Ressources</a:t>
          </a:r>
        </a:p>
      </dsp:txBody>
      <dsp:txXfrm>
        <a:off x="4066141" y="0"/>
        <a:ext cx="3778802" cy="1024778"/>
      </dsp:txXfrm>
    </dsp:sp>
    <dsp:sp modelId="{A72A025E-4523-4BF3-BE55-F3A7FC9395EA}">
      <dsp:nvSpPr>
        <dsp:cNvPr id="0" name=""/>
        <dsp:cNvSpPr/>
      </dsp:nvSpPr>
      <dsp:spPr>
        <a:xfrm>
          <a:off x="4444021" y="1024778"/>
          <a:ext cx="3023042" cy="2220353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9800891"/>
                <a:satOff val="-40777"/>
                <a:lumOff val="9608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hueOff val="9800891"/>
                <a:satOff val="-40777"/>
                <a:lumOff val="9608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9800891"/>
                <a:satOff val="-40777"/>
                <a:lumOff val="9608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5100" tIns="123825" rIns="165100" bIns="123825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500" kern="1200" dirty="0"/>
            <a:t>Capital</a:t>
          </a:r>
        </a:p>
      </dsp:txBody>
      <dsp:txXfrm>
        <a:off x="4509053" y="1089810"/>
        <a:ext cx="2892978" cy="2090289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1B849FB-EAD0-4444-B471-9965F7A844A5}">
      <dsp:nvSpPr>
        <dsp:cNvPr id="0" name=""/>
        <dsp:cNvSpPr/>
      </dsp:nvSpPr>
      <dsp:spPr>
        <a:xfrm>
          <a:off x="3415133" y="2113736"/>
          <a:ext cx="1811774" cy="1811774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6360" tIns="86360" rIns="86360" bIns="86360" numCol="1" spcCol="1270" anchor="ctr" anchorCtr="0">
          <a:noAutofit/>
        </a:bodyPr>
        <a:lstStyle/>
        <a:p>
          <a:pPr marL="0" lvl="0" indent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400" kern="1200" dirty="0"/>
            <a:t>Où va l’argent ?</a:t>
          </a:r>
        </a:p>
      </dsp:txBody>
      <dsp:txXfrm>
        <a:off x="3503577" y="2202180"/>
        <a:ext cx="1634886" cy="1634886"/>
      </dsp:txXfrm>
    </dsp:sp>
    <dsp:sp modelId="{91984521-9003-459F-A2C4-2AC69BD89A72}">
      <dsp:nvSpPr>
        <dsp:cNvPr id="0" name=""/>
        <dsp:cNvSpPr/>
      </dsp:nvSpPr>
      <dsp:spPr>
        <a:xfrm rot="16200000">
          <a:off x="3871356" y="1664072"/>
          <a:ext cx="899328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899328" y="0"/>
              </a:lnTo>
            </a:path>
          </a:pathLst>
        </a:cu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BED5604-EEFD-4C4A-9AD8-7B14618D1D57}">
      <dsp:nvSpPr>
        <dsp:cNvPr id="0" name=""/>
        <dsp:cNvSpPr/>
      </dsp:nvSpPr>
      <dsp:spPr>
        <a:xfrm>
          <a:off x="3714076" y="518"/>
          <a:ext cx="1213888" cy="1213888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700" kern="1200" dirty="0"/>
            <a:t>Immos</a:t>
          </a:r>
        </a:p>
      </dsp:txBody>
      <dsp:txXfrm>
        <a:off x="3773333" y="59775"/>
        <a:ext cx="1095374" cy="1095374"/>
      </dsp:txXfrm>
    </dsp:sp>
    <dsp:sp modelId="{424A11D4-4363-423A-B157-C18B101205ED}">
      <dsp:nvSpPr>
        <dsp:cNvPr id="0" name=""/>
        <dsp:cNvSpPr/>
      </dsp:nvSpPr>
      <dsp:spPr>
        <a:xfrm>
          <a:off x="5226908" y="3019623"/>
          <a:ext cx="899328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899328" y="0"/>
              </a:lnTo>
            </a:path>
          </a:pathLst>
        </a:cu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FA7C0E1-D056-4C33-9360-AC5C4B9C8D6E}">
      <dsp:nvSpPr>
        <dsp:cNvPr id="0" name=""/>
        <dsp:cNvSpPr/>
      </dsp:nvSpPr>
      <dsp:spPr>
        <a:xfrm>
          <a:off x="6126237" y="2412679"/>
          <a:ext cx="1213888" cy="1213888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300" kern="1200" dirty="0"/>
            <a:t>Stock</a:t>
          </a:r>
        </a:p>
      </dsp:txBody>
      <dsp:txXfrm>
        <a:off x="6185494" y="2471936"/>
        <a:ext cx="1095374" cy="1095374"/>
      </dsp:txXfrm>
    </dsp:sp>
    <dsp:sp modelId="{70DB37F1-98CC-45D6-999F-4AFB80ED0D7C}">
      <dsp:nvSpPr>
        <dsp:cNvPr id="0" name=""/>
        <dsp:cNvSpPr/>
      </dsp:nvSpPr>
      <dsp:spPr>
        <a:xfrm rot="5400000">
          <a:off x="3871356" y="4375175"/>
          <a:ext cx="899328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899328" y="0"/>
              </a:lnTo>
            </a:path>
          </a:pathLst>
        </a:cu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8979B5D-F006-4118-8B8F-DD3D31EB1E89}">
      <dsp:nvSpPr>
        <dsp:cNvPr id="0" name=""/>
        <dsp:cNvSpPr/>
      </dsp:nvSpPr>
      <dsp:spPr>
        <a:xfrm>
          <a:off x="3714076" y="4824840"/>
          <a:ext cx="1213888" cy="1213888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700" kern="1200" dirty="0"/>
            <a:t>Clients</a:t>
          </a:r>
        </a:p>
      </dsp:txBody>
      <dsp:txXfrm>
        <a:off x="3773333" y="4884097"/>
        <a:ext cx="1095374" cy="1095374"/>
      </dsp:txXfrm>
    </dsp:sp>
    <dsp:sp modelId="{FD20C393-2AD0-4628-84FB-D884B787FEEE}">
      <dsp:nvSpPr>
        <dsp:cNvPr id="0" name=""/>
        <dsp:cNvSpPr/>
      </dsp:nvSpPr>
      <dsp:spPr>
        <a:xfrm rot="10800000">
          <a:off x="2515804" y="3019624"/>
          <a:ext cx="899328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899328" y="0"/>
              </a:lnTo>
            </a:path>
          </a:pathLst>
        </a:cu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DAC4830-69A7-494B-AAE2-23595A1E6597}">
      <dsp:nvSpPr>
        <dsp:cNvPr id="0" name=""/>
        <dsp:cNvSpPr/>
      </dsp:nvSpPr>
      <dsp:spPr>
        <a:xfrm>
          <a:off x="1301915" y="2412679"/>
          <a:ext cx="1213888" cy="1213888"/>
        </a:xfrm>
        <a:prstGeom prst="roundRec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3660" tIns="73660" rIns="73660" bIns="7366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900" kern="1200" dirty="0"/>
            <a:t>Caisse</a:t>
          </a:r>
        </a:p>
      </dsp:txBody>
      <dsp:txXfrm>
        <a:off x="1361172" y="2471936"/>
        <a:ext cx="1095374" cy="1095374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1B849FB-EAD0-4444-B471-9965F7A844A5}">
      <dsp:nvSpPr>
        <dsp:cNvPr id="0" name=""/>
        <dsp:cNvSpPr/>
      </dsp:nvSpPr>
      <dsp:spPr>
        <a:xfrm>
          <a:off x="3168353" y="2847550"/>
          <a:ext cx="2304252" cy="1836204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0" tIns="88900" rIns="88900" bIns="8890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500" kern="1200" dirty="0"/>
            <a:t>D’où vient l’argent ?</a:t>
          </a:r>
        </a:p>
      </dsp:txBody>
      <dsp:txXfrm>
        <a:off x="3257989" y="2937186"/>
        <a:ext cx="2124980" cy="1656932"/>
      </dsp:txXfrm>
    </dsp:sp>
    <dsp:sp modelId="{91984521-9003-459F-A2C4-2AC69BD89A72}">
      <dsp:nvSpPr>
        <dsp:cNvPr id="0" name=""/>
        <dsp:cNvSpPr/>
      </dsp:nvSpPr>
      <dsp:spPr>
        <a:xfrm rot="16200000">
          <a:off x="3676469" y="2203540"/>
          <a:ext cx="1288020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288020" y="0"/>
              </a:lnTo>
            </a:path>
          </a:pathLst>
        </a:cu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BED5604-EEFD-4C4A-9AD8-7B14618D1D57}">
      <dsp:nvSpPr>
        <dsp:cNvPr id="0" name=""/>
        <dsp:cNvSpPr/>
      </dsp:nvSpPr>
      <dsp:spPr>
        <a:xfrm>
          <a:off x="3705351" y="329273"/>
          <a:ext cx="1230256" cy="1230256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700" kern="1200" dirty="0"/>
            <a:t>Capital</a:t>
          </a:r>
        </a:p>
      </dsp:txBody>
      <dsp:txXfrm>
        <a:off x="3765407" y="389329"/>
        <a:ext cx="1110144" cy="1110144"/>
      </dsp:txXfrm>
    </dsp:sp>
    <dsp:sp modelId="{424A11D4-4363-423A-B157-C18B101205ED}">
      <dsp:nvSpPr>
        <dsp:cNvPr id="0" name=""/>
        <dsp:cNvSpPr/>
      </dsp:nvSpPr>
      <dsp:spPr>
        <a:xfrm rot="1800000">
          <a:off x="5420315" y="4625983"/>
          <a:ext cx="780601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780601" y="0"/>
              </a:lnTo>
            </a:path>
          </a:pathLst>
        </a:cu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FA7C0E1-D056-4C33-9360-AC5C4B9C8D6E}">
      <dsp:nvSpPr>
        <dsp:cNvPr id="0" name=""/>
        <dsp:cNvSpPr/>
      </dsp:nvSpPr>
      <dsp:spPr>
        <a:xfrm>
          <a:off x="6148626" y="4561149"/>
          <a:ext cx="1230256" cy="1230256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8420" tIns="58420" rIns="58420" bIns="5842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300" kern="1200" dirty="0"/>
            <a:t>Résultat</a:t>
          </a:r>
        </a:p>
      </dsp:txBody>
      <dsp:txXfrm>
        <a:off x="6208682" y="4621205"/>
        <a:ext cx="1110144" cy="1110144"/>
      </dsp:txXfrm>
    </dsp:sp>
    <dsp:sp modelId="{70DB37F1-98CC-45D6-999F-4AFB80ED0D7C}">
      <dsp:nvSpPr>
        <dsp:cNvPr id="0" name=""/>
        <dsp:cNvSpPr/>
      </dsp:nvSpPr>
      <dsp:spPr>
        <a:xfrm rot="9000000">
          <a:off x="2440042" y="4625983"/>
          <a:ext cx="780601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780601" y="0"/>
              </a:lnTo>
            </a:path>
          </a:pathLst>
        </a:cu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8979B5D-F006-4118-8B8F-DD3D31EB1E89}">
      <dsp:nvSpPr>
        <dsp:cNvPr id="0" name=""/>
        <dsp:cNvSpPr/>
      </dsp:nvSpPr>
      <dsp:spPr>
        <a:xfrm>
          <a:off x="1262076" y="4561149"/>
          <a:ext cx="1230256" cy="1230256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kern="1200" dirty="0"/>
            <a:t>Dettes</a:t>
          </a:r>
        </a:p>
      </dsp:txBody>
      <dsp:txXfrm>
        <a:off x="1322132" y="4621205"/>
        <a:ext cx="1110144" cy="1110144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BC05D8E-93E0-43D1-971C-606697A511F2}">
      <dsp:nvSpPr>
        <dsp:cNvPr id="0" name=""/>
        <dsp:cNvSpPr/>
      </dsp:nvSpPr>
      <dsp:spPr>
        <a:xfrm>
          <a:off x="1440" y="53100"/>
          <a:ext cx="1910022" cy="1910022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700" b="1" kern="1200" dirty="0"/>
            <a:t>Actif</a:t>
          </a:r>
        </a:p>
      </dsp:txBody>
      <dsp:txXfrm>
        <a:off x="281156" y="332816"/>
        <a:ext cx="1350590" cy="1350590"/>
      </dsp:txXfrm>
    </dsp:sp>
    <dsp:sp modelId="{A749062C-2DF4-4B98-8B8A-693C2080EA77}">
      <dsp:nvSpPr>
        <dsp:cNvPr id="0" name=""/>
        <dsp:cNvSpPr/>
      </dsp:nvSpPr>
      <dsp:spPr>
        <a:xfrm>
          <a:off x="2066557" y="454205"/>
          <a:ext cx="1107813" cy="1107813"/>
        </a:xfrm>
        <a:prstGeom prst="mathMinus">
          <a:avLst/>
        </a:prstGeom>
        <a:gradFill rotWithShape="1">
          <a:gsLst>
            <a:gs pos="0">
              <a:schemeClr val="dk1">
                <a:satMod val="103000"/>
                <a:lumMod val="102000"/>
                <a:tint val="94000"/>
              </a:schemeClr>
            </a:gs>
            <a:gs pos="50000">
              <a:schemeClr val="dk1">
                <a:satMod val="110000"/>
                <a:lumMod val="100000"/>
                <a:shade val="100000"/>
              </a:schemeClr>
            </a:gs>
            <a:gs pos="100000">
              <a:schemeClr val="dk1"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  <a:scene3d>
          <a:camera prst="orthographicFront"/>
          <a:lightRig rig="flat" dir="t"/>
        </a:scene3d>
        <a:sp3d z="-80000"/>
      </dsp:spPr>
      <dsp:style>
        <a:lnRef idx="0">
          <a:schemeClr val="dk1"/>
        </a:lnRef>
        <a:fillRef idx="3">
          <a:schemeClr val="dk1"/>
        </a:fillRef>
        <a:effectRef idx="3">
          <a:schemeClr val="dk1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800" b="1" kern="1200" dirty="0"/>
        </a:p>
      </dsp:txBody>
      <dsp:txXfrm>
        <a:off x="2213398" y="877833"/>
        <a:ext cx="814131" cy="260557"/>
      </dsp:txXfrm>
    </dsp:sp>
    <dsp:sp modelId="{E415CD91-9656-484D-9DA7-338274246042}">
      <dsp:nvSpPr>
        <dsp:cNvPr id="0" name=""/>
        <dsp:cNvSpPr/>
      </dsp:nvSpPr>
      <dsp:spPr>
        <a:xfrm>
          <a:off x="3329464" y="53100"/>
          <a:ext cx="1910022" cy="1910022"/>
        </a:xfrm>
        <a:prstGeom prst="ellipse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700" b="1" kern="1200" dirty="0"/>
            <a:t>Dettes auprès des tiers</a:t>
          </a:r>
        </a:p>
      </dsp:txBody>
      <dsp:txXfrm>
        <a:off x="3609180" y="332816"/>
        <a:ext cx="1350590" cy="1350590"/>
      </dsp:txXfrm>
    </dsp:sp>
    <dsp:sp modelId="{4668F5C0-12DA-4F00-8DBD-979E8D4221D3}">
      <dsp:nvSpPr>
        <dsp:cNvPr id="0" name=""/>
        <dsp:cNvSpPr/>
      </dsp:nvSpPr>
      <dsp:spPr>
        <a:xfrm>
          <a:off x="5394581" y="454205"/>
          <a:ext cx="1107813" cy="1107813"/>
        </a:xfrm>
        <a:prstGeom prst="mathEqual">
          <a:avLst/>
        </a:prstGeom>
        <a:gradFill rotWithShape="1">
          <a:gsLst>
            <a:gs pos="0">
              <a:schemeClr val="dk1">
                <a:satMod val="103000"/>
                <a:lumMod val="102000"/>
                <a:tint val="94000"/>
              </a:schemeClr>
            </a:gs>
            <a:gs pos="50000">
              <a:schemeClr val="dk1">
                <a:satMod val="110000"/>
                <a:lumMod val="100000"/>
                <a:shade val="100000"/>
              </a:schemeClr>
            </a:gs>
            <a:gs pos="100000">
              <a:schemeClr val="dk1"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  <a:scene3d>
          <a:camera prst="orthographicFront"/>
          <a:lightRig rig="flat" dir="t"/>
        </a:scene3d>
        <a:sp3d z="-80000"/>
      </dsp:spPr>
      <dsp:style>
        <a:lnRef idx="0">
          <a:schemeClr val="dk1"/>
        </a:lnRef>
        <a:fillRef idx="3">
          <a:schemeClr val="dk1"/>
        </a:fillRef>
        <a:effectRef idx="3">
          <a:schemeClr val="dk1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3900" b="1" kern="1200" dirty="0"/>
        </a:p>
      </dsp:txBody>
      <dsp:txXfrm>
        <a:off x="5541422" y="682414"/>
        <a:ext cx="814131" cy="651395"/>
      </dsp:txXfrm>
    </dsp:sp>
    <dsp:sp modelId="{1D571E45-C775-41AA-86F8-02C486CB2864}">
      <dsp:nvSpPr>
        <dsp:cNvPr id="0" name=""/>
        <dsp:cNvSpPr/>
      </dsp:nvSpPr>
      <dsp:spPr>
        <a:xfrm>
          <a:off x="6657488" y="53100"/>
          <a:ext cx="1910022" cy="1910022"/>
        </a:xfrm>
        <a:prstGeom prst="ellipse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700" b="1" kern="1200" dirty="0"/>
            <a:t>Capitaux propres</a:t>
          </a:r>
        </a:p>
      </dsp:txBody>
      <dsp:txXfrm>
        <a:off x="6937204" y="332816"/>
        <a:ext cx="1350590" cy="1350590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6A3DAA9-DB59-4706-A27B-466FAABE7F09}">
      <dsp:nvSpPr>
        <dsp:cNvPr id="0" name=""/>
        <dsp:cNvSpPr/>
      </dsp:nvSpPr>
      <dsp:spPr>
        <a:xfrm>
          <a:off x="2193743" y="608594"/>
          <a:ext cx="1944000" cy="194400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CFEC6EC-C75B-4D5F-BF78-3A7B6AC37F8F}">
      <dsp:nvSpPr>
        <dsp:cNvPr id="0" name=""/>
        <dsp:cNvSpPr/>
      </dsp:nvSpPr>
      <dsp:spPr>
        <a:xfrm>
          <a:off x="1005743" y="3022743"/>
          <a:ext cx="432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689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800" kern="1200" dirty="0" err="1"/>
            <a:t>En</a:t>
          </a:r>
          <a:r>
            <a:rPr lang="en-US" sz="3800" kern="1200" dirty="0"/>
            <a:t> tableau =&gt; </a:t>
          </a:r>
          <a:r>
            <a:rPr lang="en-US" sz="3800" kern="1200" dirty="0" err="1"/>
            <a:t>pédago</a:t>
          </a:r>
          <a:endParaRPr lang="en-US" sz="3800" kern="1200" dirty="0"/>
        </a:p>
      </dsp:txBody>
      <dsp:txXfrm>
        <a:off x="1005743" y="3022743"/>
        <a:ext cx="4320000" cy="720000"/>
      </dsp:txXfrm>
    </dsp:sp>
    <dsp:sp modelId="{36F343E4-A148-4814-80CB-87DAED571C9A}">
      <dsp:nvSpPr>
        <dsp:cNvPr id="0" name=""/>
        <dsp:cNvSpPr/>
      </dsp:nvSpPr>
      <dsp:spPr>
        <a:xfrm>
          <a:off x="7269743" y="608594"/>
          <a:ext cx="1944000" cy="1944000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9798EB1-FC90-4757-94C7-B1833DF5E1FC}">
      <dsp:nvSpPr>
        <dsp:cNvPr id="0" name=""/>
        <dsp:cNvSpPr/>
      </dsp:nvSpPr>
      <dsp:spPr>
        <a:xfrm>
          <a:off x="6081743" y="3022743"/>
          <a:ext cx="432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689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800" kern="1200" dirty="0" err="1"/>
            <a:t>En</a:t>
          </a:r>
          <a:r>
            <a:rPr lang="en-US" sz="3800" kern="1200" dirty="0"/>
            <a:t> suite =&gt; </a:t>
          </a:r>
          <a:r>
            <a:rPr lang="en-US" sz="3800" kern="1200" dirty="0" err="1"/>
            <a:t>liasse</a:t>
          </a:r>
          <a:endParaRPr lang="en-US" sz="3800" kern="1200" dirty="0"/>
        </a:p>
      </dsp:txBody>
      <dsp:txXfrm>
        <a:off x="6081743" y="3022743"/>
        <a:ext cx="4320000" cy="720000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D84562-8FA5-49BC-8F2E-C4E3ABC0F302}">
      <dsp:nvSpPr>
        <dsp:cNvPr id="0" name=""/>
        <dsp:cNvSpPr/>
      </dsp:nvSpPr>
      <dsp:spPr>
        <a:xfrm>
          <a:off x="0" y="0"/>
          <a:ext cx="10152194" cy="409733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>
              <a:latin typeface="Arial" panose="020B0604020202020204" pitchFamily="34" charset="0"/>
              <a:cs typeface="Arial" panose="020B0604020202020204" pitchFamily="34" charset="0"/>
            </a:rPr>
            <a:t>211 - Terrains</a:t>
          </a:r>
        </a:p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>
              <a:latin typeface="Arial" panose="020B0604020202020204" pitchFamily="34" charset="0"/>
              <a:cs typeface="Arial" panose="020B0604020202020204" pitchFamily="34" charset="0"/>
            </a:rPr>
            <a:t>212 - Agencements et aménagements de terrains</a:t>
          </a:r>
        </a:p>
        <a:p>
          <a:pPr marL="0" lvl="0" indent="0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>
              <a:latin typeface="Arial" panose="020B0604020202020204" pitchFamily="34" charset="0"/>
              <a:cs typeface="Arial" panose="020B0604020202020204" pitchFamily="34" charset="0"/>
            </a:rPr>
            <a:t>213 – Constructions</a:t>
          </a:r>
        </a:p>
        <a:p>
          <a:pPr marL="0" lvl="0" indent="0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>
              <a:latin typeface="Arial" panose="020B0604020202020204" pitchFamily="34" charset="0"/>
              <a:cs typeface="Arial" panose="020B0604020202020204" pitchFamily="34" charset="0"/>
            </a:rPr>
            <a:t>214 - Constructions sur sol d'autrui </a:t>
          </a:r>
        </a:p>
        <a:p>
          <a:pPr marL="0" lvl="0" indent="0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>
              <a:latin typeface="Arial" panose="020B0604020202020204" pitchFamily="34" charset="0"/>
              <a:cs typeface="Arial" panose="020B0604020202020204" pitchFamily="34" charset="0"/>
            </a:rPr>
            <a:t>215 - Installations techniques, matériels et outillage industriels</a:t>
          </a:r>
        </a:p>
        <a:p>
          <a:pPr marL="0" lvl="0" indent="0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>
              <a:latin typeface="Arial" panose="020B0604020202020204" pitchFamily="34" charset="0"/>
              <a:cs typeface="Arial" panose="020B0604020202020204" pitchFamily="34" charset="0"/>
            </a:rPr>
            <a:t>218 - Autres immobilisations corporelles</a:t>
          </a:r>
        </a:p>
        <a:p>
          <a:pPr marL="0" lvl="0" indent="0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>
              <a:latin typeface="Arial" panose="020B0604020202020204" pitchFamily="34" charset="0"/>
              <a:cs typeface="Arial" panose="020B0604020202020204" pitchFamily="34" charset="0"/>
            </a:rPr>
            <a:t>	- 2181 - Installations générales, agencements, aménagements divers</a:t>
          </a:r>
        </a:p>
        <a:p>
          <a:pPr marL="0" lvl="0" indent="0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>
              <a:latin typeface="Arial" panose="020B0604020202020204" pitchFamily="34" charset="0"/>
              <a:cs typeface="Arial" panose="020B0604020202020204" pitchFamily="34" charset="0"/>
            </a:rPr>
            <a:t>	- 2182 – Matériel de transport</a:t>
          </a:r>
        </a:p>
        <a:p>
          <a:pPr marL="0" lvl="0" indent="0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>
              <a:latin typeface="Arial" panose="020B0604020202020204" pitchFamily="34" charset="0"/>
              <a:cs typeface="Arial" panose="020B0604020202020204" pitchFamily="34" charset="0"/>
            </a:rPr>
            <a:t>	- 2183 – Matériel de bureau et matériel informatique</a:t>
          </a:r>
        </a:p>
        <a:p>
          <a:pPr marL="0" lvl="0" indent="0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>
              <a:latin typeface="Arial" panose="020B0604020202020204" pitchFamily="34" charset="0"/>
              <a:cs typeface="Arial" panose="020B0604020202020204" pitchFamily="34" charset="0"/>
            </a:rPr>
            <a:t>	- 2184 – Mobilier</a:t>
          </a:r>
        </a:p>
        <a:p>
          <a:pPr marL="0" lvl="0" indent="0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>
              <a:latin typeface="Arial" panose="020B0604020202020204" pitchFamily="34" charset="0"/>
              <a:cs typeface="Arial" panose="020B0604020202020204" pitchFamily="34" charset="0"/>
            </a:rPr>
            <a:t>	- 2185 – Cheptel</a:t>
          </a:r>
        </a:p>
      </dsp:txBody>
      <dsp:txXfrm>
        <a:off x="120007" y="120007"/>
        <a:ext cx="9912180" cy="385732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balance1">
  <dgm:title val=""/>
  <dgm:desc val=""/>
  <dgm:catLst>
    <dgm:cat type="relationship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25" srcId="2" destId="23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2"/>
        <dgm:pt modelId="21"/>
        <dgm:pt modelId="22"/>
        <dgm:pt modelId="23"/>
      </dgm:ptLst>
      <dgm:cxnLst>
        <dgm:cxn modelId="4" srcId="0" destId="1" srcOrd="0" destOrd="0"/>
        <dgm:cxn modelId="5" srcId="0" destId="2" srcOrd="1" destOrd="0"/>
        <dgm:cxn modelId="15" srcId="1" destId="11" srcOrd="0" destOrd="0"/>
        <dgm:cxn modelId="16" srcId="1" destId="12" srcOrd="0" destOrd="0"/>
        <dgm:cxn modelId="17" srcId="1" destId="13" srcOrd="0" destOrd="0"/>
        <dgm:cxn modelId="25" srcId="2" destId="21" srcOrd="0" destOrd="0"/>
        <dgm:cxn modelId="26" srcId="2" destId="22" srcOrd="0" destOrd="0"/>
        <dgm:cxn modelId="27" srcId="2" destId="23" srcOrd="0" destOrd="0"/>
      </dgm:cxnLst>
      <dgm:bg/>
      <dgm:whole/>
    </dgm:dataModel>
  </dgm:clrData>
  <dgm:layoutNode name="outerComposite">
    <dgm:varLst>
      <dgm:chMax val="2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>
      <dgm:constr type="h" for="ch" forName="parentComposite" refType="h" refFor="ch" refForName="dummyMaxCanvas" op="equ" fact="0.2"/>
      <dgm:constr type="t" for="ch" forName="parentComposite"/>
      <dgm:constr type="h" for="ch" forName="childrenComposite" refType="h" refFor="ch" refForName="dummyMaxCanvas" op="equ" fact="0.8"/>
      <dgm:constr type="t" for="ch" forName="childrenComposite" refType="h" refFor="ch" refForName="dummyMaxCanvas" fact="0.2"/>
    </dgm:constrLst>
    <dgm:ruleLst/>
    <dgm:layoutNode name="dummyMaxCanvas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arentComposite">
      <dgm:alg type="composite"/>
      <dgm:shape xmlns:r="http://schemas.openxmlformats.org/officeDocument/2006/relationships" r:blip="">
        <dgm:adjLst/>
      </dgm:shape>
      <dgm:presOf/>
      <dgm:constrLst>
        <dgm:constr type="w" for="ch" forName="parent1" refType="w" fact="0.36"/>
        <dgm:constr type="ctrX" for="ch" forName="parent1" refType="w" fact="0.24"/>
        <dgm:constr type="w" for="ch" forName="parent2" refType="w" fact="0.36"/>
        <dgm:constr type="ctrX" for="ch" forName="parent2" refType="w" fact="0.76"/>
        <dgm:constr type="primFontSz" for="ch" ptType="node" op="equ"/>
      </dgm:constrLst>
      <dgm:ruleLst/>
      <dgm:layoutNode name="parent1" styleLbl="alignAccFollowNode1">
        <dgm:varLst>
          <dgm:chMax val="4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ch" ptType="node" cnt="1"/>
        <dgm:constrLst>
          <dgm:constr type="primFontSz" val="65"/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arent2" styleLbl="alignAccFollowNode1">
        <dgm:varLst>
          <dgm:chMax val="4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ch" ptType="node" st="2" cnt="1"/>
        <dgm:constrLst>
          <dgm:constr type="primFontSz" val="65"/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</dgm:layoutNode>
    <dgm:layoutNode name="childrenComposite">
      <dgm:alg type="composite"/>
      <dgm:shape xmlns:r="http://schemas.openxmlformats.org/officeDocument/2006/relationships" r:blip="">
        <dgm:adjLst/>
      </dgm:shape>
      <dgm:presOf/>
      <dgm:constrLst>
        <dgm:constr type="primFontSz" for="ch" ptType="node" op="equ" val="65"/>
        <dgm:constr type="w" for="ch" forName="fulcrum" refType="w" fact="0.15"/>
        <dgm:constr type="h" for="ch" forName="fulcrum" refType="w" refFor="ch" refForName="fulcrum"/>
        <dgm:constr type="b" for="ch" forName="fulcrum" refType="h"/>
        <dgm:constr type="ctrX" for="ch" forName="fulcrum" refType="w" fact="0.5"/>
        <dgm:constr type="w" for="ch" forName="balance_00" refType="w" fact="0.9"/>
        <dgm:constr type="h" for="ch" forName="balance_00" refType="h" fact="0.076"/>
        <dgm:constr type="b" for="ch" forName="balance_00" refType="h" fact="0.81"/>
        <dgm:constr type="ctrX" for="ch" forName="balance_00" refType="w" fact="0.5"/>
        <dgm:constr type="w" for="ch" forName="balance_01" refType="w"/>
        <dgm:constr type="h" for="ch" forName="balance_01" refType="h" fact="0.157"/>
        <dgm:constr type="b" for="ch" forName="balance_01" refType="h" fact="0.85"/>
        <dgm:constr type="ctrX" for="ch" forName="balance_01" refType="w" fact="0.5"/>
        <dgm:constr type="w" for="ch" forName="balance_02" refType="w"/>
        <dgm:constr type="h" for="ch" forName="balance_02" refType="h" fact="0.157"/>
        <dgm:constr type="b" for="ch" forName="balance_02" refType="h" fact="0.85"/>
        <dgm:constr type="ctrX" for="ch" forName="balance_02" refType="w" fact="0.5"/>
        <dgm:constr type="w" for="ch" forName="balance_03" refType="w"/>
        <dgm:constr type="h" for="ch" forName="balance_03" refType="h" fact="0.157"/>
        <dgm:constr type="b" for="ch" forName="balance_03" refType="h" fact="0.85"/>
        <dgm:constr type="ctrX" for="ch" forName="balance_03" refType="w" fact="0.5"/>
        <dgm:constr type="w" for="ch" forName="balance_04" refType="w"/>
        <dgm:constr type="h" for="ch" forName="balance_04" refType="h" fact="0.157"/>
        <dgm:constr type="b" for="ch" forName="balance_04" refType="h" fact="0.85"/>
        <dgm:constr type="ctrX" for="ch" forName="balance_04" refType="w" fact="0.5"/>
        <dgm:constr type="w" for="ch" forName="balance_10" refType="w"/>
        <dgm:constr type="h" for="ch" forName="balance_10" refType="h" fact="0.157"/>
        <dgm:constr type="b" for="ch" forName="balance_10" refType="h" fact="0.85"/>
        <dgm:constr type="ctrX" for="ch" forName="balance_10" refType="w" fact="0.5"/>
        <dgm:constr type="w" for="ch" forName="balance_11" refType="w" fact="0.9"/>
        <dgm:constr type="h" for="ch" forName="balance_11" refType="h" fact="0.076"/>
        <dgm:constr type="b" for="ch" forName="balance_11" refType="h" fact="0.81"/>
        <dgm:constr type="ctrX" for="ch" forName="balance_11" refType="w" fact="0.5"/>
        <dgm:constr type="w" for="ch" forName="balance_12" refType="w"/>
        <dgm:constr type="h" for="ch" forName="balance_12" refType="h" fact="0.157"/>
        <dgm:constr type="b" for="ch" forName="balance_12" refType="h" fact="0.85"/>
        <dgm:constr type="ctrX" for="ch" forName="balance_12" refType="w" fact="0.5"/>
        <dgm:constr type="w" for="ch" forName="balance_13" refType="w"/>
        <dgm:constr type="h" for="ch" forName="balance_13" refType="h" fact="0.157"/>
        <dgm:constr type="b" for="ch" forName="balance_13" refType="h" fact="0.85"/>
        <dgm:constr type="ctrX" for="ch" forName="balance_13" refType="w" fact="0.5"/>
        <dgm:constr type="w" for="ch" forName="balance_14" refType="w"/>
        <dgm:constr type="h" for="ch" forName="balance_14" refType="h" fact="0.157"/>
        <dgm:constr type="b" for="ch" forName="balance_14" refType="h" fact="0.85"/>
        <dgm:constr type="ctrX" for="ch" forName="balance_14" refType="w" fact="0.5"/>
        <dgm:constr type="w" for="ch" forName="balance_20" refType="w"/>
        <dgm:constr type="h" for="ch" forName="balance_20" refType="h" fact="0.157"/>
        <dgm:constr type="b" for="ch" forName="balance_20" refType="h" fact="0.85"/>
        <dgm:constr type="ctrX" for="ch" forName="balance_20" refType="w" fact="0.5"/>
        <dgm:constr type="w" for="ch" forName="balance_21" refType="w"/>
        <dgm:constr type="h" for="ch" forName="balance_21" refType="h" fact="0.157"/>
        <dgm:constr type="b" for="ch" forName="balance_21" refType="h" fact="0.85"/>
        <dgm:constr type="ctrX" for="ch" forName="balance_21" refType="w" fact="0.5"/>
        <dgm:constr type="w" for="ch" forName="balance_22" refType="w" fact="0.9"/>
        <dgm:constr type="h" for="ch" forName="balance_22" refType="h" fact="0.076"/>
        <dgm:constr type="b" for="ch" forName="balance_22" refType="h" fact="0.81"/>
        <dgm:constr type="ctrX" for="ch" forName="balance_22" refType="w" fact="0.5"/>
        <dgm:constr type="w" for="ch" forName="balance_23" refType="w"/>
        <dgm:constr type="h" for="ch" forName="balance_23" refType="h" fact="0.157"/>
        <dgm:constr type="b" for="ch" forName="balance_23" refType="h" fact="0.85"/>
        <dgm:constr type="ctrX" for="ch" forName="balance_23" refType="w" fact="0.5"/>
        <dgm:constr type="w" for="ch" forName="balance_24" refType="w"/>
        <dgm:constr type="h" for="ch" forName="balance_24" refType="h" fact="0.157"/>
        <dgm:constr type="b" for="ch" forName="balance_24" refType="h" fact="0.85"/>
        <dgm:constr type="ctrX" for="ch" forName="balance_24" refType="w" fact="0.5"/>
        <dgm:constr type="w" for="ch" forName="balance_30" refType="w"/>
        <dgm:constr type="h" for="ch" forName="balance_30" refType="h" fact="0.157"/>
        <dgm:constr type="b" for="ch" forName="balance_30" refType="h" fact="0.85"/>
        <dgm:constr type="ctrX" for="ch" forName="balance_30" refType="w" fact="0.5"/>
        <dgm:constr type="w" for="ch" forName="balance_31" refType="w"/>
        <dgm:constr type="h" for="ch" forName="balance_31" refType="h" fact="0.157"/>
        <dgm:constr type="b" for="ch" forName="balance_31" refType="h" fact="0.85"/>
        <dgm:constr type="ctrX" for="ch" forName="balance_31" refType="w" fact="0.5"/>
        <dgm:constr type="w" for="ch" forName="balance_32" refType="w"/>
        <dgm:constr type="h" for="ch" forName="balance_32" refType="h" fact="0.157"/>
        <dgm:constr type="b" for="ch" forName="balance_32" refType="h" fact="0.85"/>
        <dgm:constr type="ctrX" for="ch" forName="balance_32" refType="w" fact="0.5"/>
        <dgm:constr type="w" for="ch" forName="balance_33" refType="w" fact="0.9"/>
        <dgm:constr type="h" for="ch" forName="balance_33" refType="h" fact="0.076"/>
        <dgm:constr type="b" for="ch" forName="balance_33" refType="h" fact="0.81"/>
        <dgm:constr type="ctrX" for="ch" forName="balance_33" refType="w" fact="0.5"/>
        <dgm:constr type="w" for="ch" forName="balance_34" refType="w"/>
        <dgm:constr type="h" for="ch" forName="balance_34" refType="h" fact="0.157"/>
        <dgm:constr type="b" for="ch" forName="balance_34" refType="h" fact="0.85"/>
        <dgm:constr type="ctrX" for="ch" forName="balance_34" refType="w" fact="0.5"/>
        <dgm:constr type="w" for="ch" forName="balance_40" refType="w"/>
        <dgm:constr type="h" for="ch" forName="balance_40" refType="h" fact="0.157"/>
        <dgm:constr type="b" for="ch" forName="balance_40" refType="h" fact="0.85"/>
        <dgm:constr type="ctrX" for="ch" forName="balance_40" refType="w" fact="0.5"/>
        <dgm:constr type="w" for="ch" forName="balance_41" refType="w"/>
        <dgm:constr type="h" for="ch" forName="balance_41" refType="h" fact="0.157"/>
        <dgm:constr type="b" for="ch" forName="balance_41" refType="h" fact="0.85"/>
        <dgm:constr type="ctrX" for="ch" forName="balance_41" refType="w" fact="0.5"/>
        <dgm:constr type="w" for="ch" forName="balance_42" refType="w"/>
        <dgm:constr type="h" for="ch" forName="balance_42" refType="h" fact="0.157"/>
        <dgm:constr type="b" for="ch" forName="balance_42" refType="h" fact="0.85"/>
        <dgm:constr type="ctrX" for="ch" forName="balance_42" refType="w" fact="0.5"/>
        <dgm:constr type="w" for="ch" forName="balance_43" refType="w"/>
        <dgm:constr type="h" for="ch" forName="balance_43" refType="h" fact="0.157"/>
        <dgm:constr type="b" for="ch" forName="balance_43" refType="h" fact="0.85"/>
        <dgm:constr type="ctrX" for="ch" forName="balance_43" refType="w" fact="0.5"/>
        <dgm:constr type="w" for="ch" forName="balance_44" refType="w" fact="0.9"/>
        <dgm:constr type="h" for="ch" forName="balance_44" refType="h" fact="0.076"/>
        <dgm:constr type="b" for="ch" forName="balance_44" refType="h" fact="0.81"/>
        <dgm:constr type="ctrX" for="ch" forName="balance_44" refType="w" fact="0.5"/>
        <dgm:constr type="w" for="ch" forName="right_01_1" refType="w" fact="0.4"/>
        <dgm:constr type="h" for="ch" forName="right_01_1" refType="h" fact="0.7"/>
        <dgm:constr type="b" for="ch" forName="right_01_1" refType="h" fact="0.76"/>
        <dgm:constr type="ctrX" for="ch" forName="right_01_1" refType="w" fact="0.78"/>
        <dgm:constr type="w" for="ch" forName="left_10_1" refType="w" fact="0.4"/>
        <dgm:constr type="h" for="ch" forName="left_10_1" refType="h" fact="0.7"/>
        <dgm:constr type="b" for="ch" forName="left_10_1" refType="h" fact="0.76"/>
        <dgm:constr type="ctrX" for="ch" forName="left_10_1" refType="w" fact="0.22"/>
        <dgm:constr type="w" for="ch" forName="right_11_1" refType="w" fact="0.36"/>
        <dgm:constr type="h" for="ch" forName="right_11_1" refType="h" fact="0.67"/>
        <dgm:constr type="b" for="ch" forName="right_11_1" refType="h" fact="0.725"/>
        <dgm:constr type="ctrX" for="ch" forName="right_11_1" refType="w" fact="0.76"/>
        <dgm:constr type="w" for="ch" forName="left_11_1" refType="w" fact="0.36"/>
        <dgm:constr type="h" for="ch" forName="left_11_1" refType="h" fact="0.67"/>
        <dgm:constr type="b" for="ch" forName="left_11_1" refType="h" fact="0.725"/>
        <dgm:constr type="ctrX" for="ch" forName="left_11_1" refType="w" fact="0.24"/>
        <dgm:constr type="w" for="ch" forName="right_02_1" refType="w" fact="0.388"/>
        <dgm:constr type="h" for="ch" forName="right_02_1" refType="h" fact="0.36"/>
        <dgm:constr type="b" for="ch" forName="right_02_1" refType="h" fact="0.76"/>
        <dgm:constr type="ctrX" for="ch" forName="right_02_1" refType="w" fact="0.77"/>
        <dgm:constr type="w" for="ch" forName="right_02_2" refType="w" fact="0.388"/>
        <dgm:constr type="h" for="ch" forName="right_02_2" refType="h" fact="0.36"/>
        <dgm:constr type="b" for="ch" forName="right_02_2" refType="h" fact="0.42"/>
        <dgm:constr type="ctrX" for="ch" forName="right_02_2" refType="w" fact="0.79"/>
        <dgm:constr type="w" for="ch" forName="left_20_1" refType="w" fact="0.388"/>
        <dgm:constr type="h" for="ch" forName="left_20_1" refType="h" fact="0.36"/>
        <dgm:constr type="b" for="ch" forName="left_20_1" refType="h" fact="0.76"/>
        <dgm:constr type="ctrX" for="ch" forName="left_20_1" refType="w" fact="0.23"/>
        <dgm:constr type="w" for="ch" forName="left_20_2" refType="w" fact="0.388"/>
        <dgm:constr type="h" for="ch" forName="left_20_2" refType="h" fact="0.36"/>
        <dgm:constr type="b" for="ch" forName="left_20_2" refType="h" fact="0.42"/>
        <dgm:constr type="ctrX" for="ch" forName="left_20_2" refType="w" fact="0.21"/>
        <dgm:constr type="w" for="ch" forName="right_12_1" refType="w" fact="0.388"/>
        <dgm:constr type="h" for="ch" forName="right_12_1" refType="h" fact="0.36"/>
        <dgm:constr type="b" for="ch" forName="right_12_1" refType="h" fact="0.76"/>
        <dgm:constr type="ctrX" for="ch" forName="right_12_1" refType="w" fact="0.77"/>
        <dgm:constr type="w" for="ch" forName="right_12_2" refType="w" fact="0.388"/>
        <dgm:constr type="h" for="ch" forName="right_12_2" refType="h" fact="0.36"/>
        <dgm:constr type="b" for="ch" forName="right_12_2" refType="h" fact="0.42"/>
        <dgm:constr type="ctrX" for="ch" forName="right_12_2" refType="w" fact="0.79"/>
        <dgm:constr type="w" for="ch" forName="left_12_1" refType="w" fact="0.388"/>
        <dgm:constr type="h" for="ch" forName="left_12_1" refType="h" fact="0.36"/>
        <dgm:constr type="b" for="ch" forName="left_12_1" refType="h" fact="0.715"/>
        <dgm:constr type="ctrX" for="ch" forName="left_12_1" refType="w" fact="0.255"/>
        <dgm:constr type="w" for="ch" forName="right_22_1" refType="w" fact="0.36"/>
        <dgm:constr type="h" for="ch" forName="right_22_1" refType="h" fact="0.32"/>
        <dgm:constr type="b" for="ch" forName="right_22_1" refType="h" fact="0.725"/>
        <dgm:constr type="ctrX" for="ch" forName="right_22_1" refType="w" fact="0.76"/>
        <dgm:constr type="w" for="ch" forName="right_22_2" refType="w" fact="0.36"/>
        <dgm:constr type="h" for="ch" forName="right_22_2" refType="h" fact="0.32"/>
        <dgm:constr type="b" for="ch" forName="right_22_2" refType="h" fact="0.39"/>
        <dgm:constr type="ctrX" for="ch" forName="right_22_2" refType="w" fact="0.76"/>
        <dgm:constr type="w" for="ch" forName="left_22_1" refType="w" fact="0.36"/>
        <dgm:constr type="h" for="ch" forName="left_22_1" refType="h" fact="0.32"/>
        <dgm:constr type="b" for="ch" forName="left_22_1" refType="h" fact="0.725"/>
        <dgm:constr type="ctrX" for="ch" forName="left_22_1" refType="w" fact="0.24"/>
        <dgm:constr type="w" for="ch" forName="left_22_2" refType="w" fact="0.36"/>
        <dgm:constr type="h" for="ch" forName="left_22_2" refType="h" fact="0.32"/>
        <dgm:constr type="b" for="ch" forName="left_22_2" refType="h" fact="0.39"/>
        <dgm:constr type="ctrX" for="ch" forName="left_22_2" refType="w" fact="0.24"/>
        <dgm:constr type="w" for="ch" forName="left_21_1" refType="w" fact="0.388"/>
        <dgm:constr type="h" for="ch" forName="left_21_1" refType="h" fact="0.36"/>
        <dgm:constr type="b" for="ch" forName="left_21_1" refType="h" fact="0.76"/>
        <dgm:constr type="ctrX" for="ch" forName="left_21_1" refType="w" fact="0.23"/>
        <dgm:constr type="w" for="ch" forName="left_21_2" refType="w" fact="0.388"/>
        <dgm:constr type="h" for="ch" forName="left_21_2" refType="h" fact="0.36"/>
        <dgm:constr type="b" for="ch" forName="left_21_2" refType="h" fact="0.42"/>
        <dgm:constr type="ctrX" for="ch" forName="left_21_2" refType="w" fact="0.21"/>
        <dgm:constr type="w" for="ch" forName="right_21_1" refType="w" fact="0.388"/>
        <dgm:constr type="h" for="ch" forName="right_21_1" refType="h" fact="0.36"/>
        <dgm:constr type="b" for="ch" forName="right_21_1" refType="h" fact="0.715"/>
        <dgm:constr type="ctrX" for="ch" forName="right_21_1" refType="w" fact="0.745"/>
        <dgm:constr type="w" for="ch" forName="right_03_1" refType="w" fact="0.37"/>
        <dgm:constr type="h" for="ch" forName="right_03_1" refType="h" fact="0.24"/>
        <dgm:constr type="b" for="ch" forName="right_03_1" refType="h" fact="0.76"/>
        <dgm:constr type="ctrX" for="ch" forName="right_03_1" refType="w" fact="0.77"/>
        <dgm:constr type="w" for="ch" forName="right_03_2" refType="w" fact="0.37"/>
        <dgm:constr type="h" for="ch" forName="right_03_2" refType="h" fact="0.24"/>
        <dgm:constr type="b" for="ch" forName="right_03_2" refType="h" fact="0.535"/>
        <dgm:constr type="ctrX" for="ch" forName="right_03_2" refType="w" fact="0.783"/>
        <dgm:constr type="w" for="ch" forName="right_03_3" refType="w" fact="0.37"/>
        <dgm:constr type="h" for="ch" forName="right_03_3" refType="h" fact="0.24"/>
        <dgm:constr type="b" for="ch" forName="right_03_3" refType="h" fact="0.315"/>
        <dgm:constr type="ctrX" for="ch" forName="right_03_3" refType="w" fact="0.796"/>
        <dgm:constr type="w" for="ch" forName="left_30_1" refType="w" fact="0.37"/>
        <dgm:constr type="h" for="ch" forName="left_30_1" refType="h" fact="0.24"/>
        <dgm:constr type="b" for="ch" forName="left_30_1" refType="h" fact="0.76"/>
        <dgm:constr type="ctrX" for="ch" forName="left_30_1" refType="w" fact="0.23"/>
        <dgm:constr type="w" for="ch" forName="left_30_2" refType="w" fact="0.37"/>
        <dgm:constr type="h" for="ch" forName="left_30_2" refType="h" fact="0.24"/>
        <dgm:constr type="b" for="ch" forName="left_30_2" refType="h" fact="0.535"/>
        <dgm:constr type="ctrX" for="ch" forName="left_30_2" refType="w" fact="0.217"/>
        <dgm:constr type="w" for="ch" forName="left_30_3" refType="w" fact="0.37"/>
        <dgm:constr type="h" for="ch" forName="left_30_3" refType="h" fact="0.24"/>
        <dgm:constr type="b" for="ch" forName="left_30_3" refType="h" fact="0.315"/>
        <dgm:constr type="ctrX" for="ch" forName="left_30_3" refType="w" fact="0.204"/>
        <dgm:constr type="w" for="ch" forName="right_13_1" refType="w" fact="0.37"/>
        <dgm:constr type="h" for="ch" forName="right_13_1" refType="h" fact="0.24"/>
        <dgm:constr type="b" for="ch" forName="right_13_1" refType="h" fact="0.76"/>
        <dgm:constr type="ctrX" for="ch" forName="right_13_1" refType="w" fact="0.77"/>
        <dgm:constr type="w" for="ch" forName="right_13_2" refType="w" fact="0.37"/>
        <dgm:constr type="h" for="ch" forName="right_13_2" refType="h" fact="0.24"/>
        <dgm:constr type="b" for="ch" forName="right_13_2" refType="h" fact="0.535"/>
        <dgm:constr type="ctrX" for="ch" forName="right_13_2" refType="w" fact="0.783"/>
        <dgm:constr type="w" for="ch" forName="right_13_3" refType="w" fact="0.37"/>
        <dgm:constr type="h" for="ch" forName="right_13_3" refType="h" fact="0.24"/>
        <dgm:constr type="b" for="ch" forName="right_13_3" refType="h" fact="0.315"/>
        <dgm:constr type="ctrX" for="ch" forName="right_13_3" refType="w" fact="0.796"/>
        <dgm:constr type="w" for="ch" forName="left_13_1" refType="w" fact="0.37"/>
        <dgm:constr type="h" for="ch" forName="left_13_1" refType="h" fact="0.24"/>
        <dgm:constr type="b" for="ch" forName="left_13_1" refType="h" fact="0.715"/>
        <dgm:constr type="ctrX" for="ch" forName="left_13_1" refType="w" fact="0.255"/>
        <dgm:constr type="w" for="ch" forName="left_31_1" refType="w" fact="0.37"/>
        <dgm:constr type="h" for="ch" forName="left_31_1" refType="h" fact="0.24"/>
        <dgm:constr type="b" for="ch" forName="left_31_1" refType="h" fact="0.76"/>
        <dgm:constr type="ctrX" for="ch" forName="left_31_1" refType="w" fact="0.23"/>
        <dgm:constr type="w" for="ch" forName="left_31_2" refType="w" fact="0.37"/>
        <dgm:constr type="h" for="ch" forName="left_31_2" refType="h" fact="0.24"/>
        <dgm:constr type="b" for="ch" forName="left_31_2" refType="h" fact="0.535"/>
        <dgm:constr type="ctrX" for="ch" forName="left_31_2" refType="w" fact="0.217"/>
        <dgm:constr type="w" for="ch" forName="left_31_3" refType="w" fact="0.37"/>
        <dgm:constr type="h" for="ch" forName="left_31_3" refType="h" fact="0.24"/>
        <dgm:constr type="b" for="ch" forName="left_31_3" refType="h" fact="0.315"/>
        <dgm:constr type="ctrX" for="ch" forName="left_31_3" refType="w" fact="0.204"/>
        <dgm:constr type="w" for="ch" forName="right_31_1" refType="w" fact="0.37"/>
        <dgm:constr type="h" for="ch" forName="right_31_1" refType="h" fact="0.24"/>
        <dgm:constr type="b" for="ch" forName="right_31_1" refType="h" fact="0.715"/>
        <dgm:constr type="ctrX" for="ch" forName="right_31_1" refType="w" fact="0.745"/>
        <dgm:constr type="w" for="ch" forName="right_23_1" refType="w" fact="0.37"/>
        <dgm:constr type="h" for="ch" forName="right_23_1" refType="h" fact="0.24"/>
        <dgm:constr type="b" for="ch" forName="right_23_1" refType="h" fact="0.76"/>
        <dgm:constr type="ctrX" for="ch" forName="right_23_1" refType="w" fact="0.77"/>
        <dgm:constr type="w" for="ch" forName="right_23_2" refType="w" fact="0.37"/>
        <dgm:constr type="h" for="ch" forName="right_23_2" refType="h" fact="0.24"/>
        <dgm:constr type="b" for="ch" forName="right_23_2" refType="h" fact="0.535"/>
        <dgm:constr type="ctrX" for="ch" forName="right_23_2" refType="w" fact="0.783"/>
        <dgm:constr type="w" for="ch" forName="right_23_3" refType="w" fact="0.37"/>
        <dgm:constr type="h" for="ch" forName="right_23_3" refType="h" fact="0.24"/>
        <dgm:constr type="b" for="ch" forName="right_23_3" refType="h" fact="0.315"/>
        <dgm:constr type="ctrX" for="ch" forName="right_23_3" refType="w" fact="0.796"/>
        <dgm:constr type="w" for="ch" forName="left_23_1" refType="w" fact="0.37"/>
        <dgm:constr type="h" for="ch" forName="left_23_1" refType="h" fact="0.24"/>
        <dgm:constr type="b" for="ch" forName="left_23_1" refType="h" fact="0.715"/>
        <dgm:constr type="ctrX" for="ch" forName="left_23_1" refType="w" fact="0.255"/>
        <dgm:constr type="w" for="ch" forName="left_23_2" refType="w" fact="0.37"/>
        <dgm:constr type="h" for="ch" forName="left_23_2" refType="h" fact="0.24"/>
        <dgm:constr type="b" for="ch" forName="left_23_2" refType="h" fact="0.49"/>
        <dgm:constr type="ctrX" for="ch" forName="left_23_2" refType="w" fact="0.268"/>
        <dgm:constr type="w" for="ch" forName="left_32_1" refType="w" fact="0.37"/>
        <dgm:constr type="h" for="ch" forName="left_32_1" refType="h" fact="0.24"/>
        <dgm:constr type="b" for="ch" forName="left_32_1" refType="h" fact="0.76"/>
        <dgm:constr type="ctrX" for="ch" forName="left_32_1" refType="w" fact="0.23"/>
        <dgm:constr type="w" for="ch" forName="left_32_2" refType="w" fact="0.37"/>
        <dgm:constr type="h" for="ch" forName="left_32_2" refType="h" fact="0.24"/>
        <dgm:constr type="b" for="ch" forName="left_32_2" refType="h" fact="0.535"/>
        <dgm:constr type="ctrX" for="ch" forName="left_32_2" refType="w" fact="0.217"/>
        <dgm:constr type="w" for="ch" forName="left_32_3" refType="w" fact="0.37"/>
        <dgm:constr type="h" for="ch" forName="left_32_3" refType="h" fact="0.24"/>
        <dgm:constr type="b" for="ch" forName="left_32_3" refType="h" fact="0.315"/>
        <dgm:constr type="ctrX" for="ch" forName="left_32_3" refType="w" fact="0.204"/>
        <dgm:constr type="w" for="ch" forName="right_32_1" refType="w" fact="0.37"/>
        <dgm:constr type="h" for="ch" forName="right_32_1" refType="h" fact="0.24"/>
        <dgm:constr type="b" for="ch" forName="right_32_1" refType="h" fact="0.715"/>
        <dgm:constr type="ctrX" for="ch" forName="right_32_1" refType="w" fact="0.745"/>
        <dgm:constr type="w" for="ch" forName="right_32_2" refType="w" fact="0.37"/>
        <dgm:constr type="h" for="ch" forName="right_32_2" refType="h" fact="0.24"/>
        <dgm:constr type="b" for="ch" forName="right_32_2" refType="h" fact="0.49"/>
        <dgm:constr type="ctrX" for="ch" forName="right_32_2" refType="w" fact="0.732"/>
        <dgm:constr type="w" for="ch" forName="right_33_1" refType="w" fact="0.36"/>
        <dgm:constr type="h" for="ch" forName="right_33_1" refType="h" fact="0.21"/>
        <dgm:constr type="b" for="ch" forName="right_33_1" refType="h" fact="0.725"/>
        <dgm:constr type="ctrX" for="ch" forName="right_33_1" refType="w" fact="0.76"/>
        <dgm:constr type="w" for="ch" forName="right_33_2" refType="w" fact="0.36"/>
        <dgm:constr type="h" for="ch" forName="right_33_2" refType="h" fact="0.21"/>
        <dgm:constr type="b" for="ch" forName="right_33_2" refType="h" fact="0.5"/>
        <dgm:constr type="ctrX" for="ch" forName="right_33_2" refType="w" fact="0.76"/>
        <dgm:constr type="w" for="ch" forName="right_33_3" refType="w" fact="0.36"/>
        <dgm:constr type="h" for="ch" forName="right_33_3" refType="h" fact="0.21"/>
        <dgm:constr type="b" for="ch" forName="right_33_3" refType="h" fact="0.275"/>
        <dgm:constr type="ctrX" for="ch" forName="right_33_3" refType="w" fact="0.76"/>
        <dgm:constr type="w" for="ch" forName="left_33_1" refType="w" fact="0.36"/>
        <dgm:constr type="h" for="ch" forName="left_33_1" refType="h" fact="0.21"/>
        <dgm:constr type="b" for="ch" forName="left_33_1" refType="h" fact="0.725"/>
        <dgm:constr type="ctrX" for="ch" forName="left_33_1" refType="w" fact="0.24"/>
        <dgm:constr type="w" for="ch" forName="left_33_2" refType="w" fact="0.36"/>
        <dgm:constr type="h" for="ch" forName="left_33_2" refType="h" fact="0.21"/>
        <dgm:constr type="b" for="ch" forName="left_33_2" refType="h" fact="0.5"/>
        <dgm:constr type="ctrX" for="ch" forName="left_33_2" refType="w" fact="0.24"/>
        <dgm:constr type="w" for="ch" forName="left_33_3" refType="w" fact="0.36"/>
        <dgm:constr type="h" for="ch" forName="left_33_3" refType="h" fact="0.21"/>
        <dgm:constr type="b" for="ch" forName="left_33_3" refType="h" fact="0.275"/>
        <dgm:constr type="ctrX" for="ch" forName="left_33_3" refType="w" fact="0.24"/>
        <dgm:constr type="w" for="ch" forName="right_04_1" refType="w" fact="0.365"/>
        <dgm:constr type="h" for="ch" forName="right_04_1" refType="h" fact="0.185"/>
        <dgm:constr type="b" for="ch" forName="right_04_1" refType="h" fact="0.76"/>
        <dgm:constr type="ctrX" for="ch" forName="right_04_1" refType="w" fact="0.77"/>
        <dgm:constr type="w" for="ch" forName="right_04_2" refType="w" fact="0.365"/>
        <dgm:constr type="h" for="ch" forName="right_04_2" refType="h" fact="0.185"/>
        <dgm:constr type="b" for="ch" forName="right_04_2" refType="h" fact="0.595"/>
        <dgm:constr type="ctrX" for="ch" forName="right_04_2" refType="w" fact="0.78"/>
        <dgm:constr type="w" for="ch" forName="right_04_3" refType="w" fact="0.365"/>
        <dgm:constr type="h" for="ch" forName="right_04_3" refType="h" fact="0.185"/>
        <dgm:constr type="b" for="ch" forName="right_04_3" refType="h" fact="0.43"/>
        <dgm:constr type="ctrX" for="ch" forName="right_04_3" refType="w" fact="0.79"/>
        <dgm:constr type="w" for="ch" forName="right_04_4" refType="w" fact="0.365"/>
        <dgm:constr type="h" for="ch" forName="right_04_4" refType="h" fact="0.185"/>
        <dgm:constr type="b" for="ch" forName="right_04_4" refType="h" fact="0.265"/>
        <dgm:constr type="ctrX" for="ch" forName="right_04_4" refType="w" fact="0.8"/>
        <dgm:constr type="w" for="ch" forName="left_40_1" refType="w" fact="0.365"/>
        <dgm:constr type="h" for="ch" forName="left_40_1" refType="h" fact="0.185"/>
        <dgm:constr type="b" for="ch" forName="left_40_1" refType="h" fact="0.76"/>
        <dgm:constr type="ctrX" for="ch" forName="left_40_1" refType="w" fact="0.23"/>
        <dgm:constr type="w" for="ch" forName="left_40_2" refType="w" fact="0.365"/>
        <dgm:constr type="h" for="ch" forName="left_40_2" refType="h" fact="0.185"/>
        <dgm:constr type="b" for="ch" forName="left_40_2" refType="h" fact="0.595"/>
        <dgm:constr type="ctrX" for="ch" forName="left_40_2" refType="w" fact="0.22"/>
        <dgm:constr type="w" for="ch" forName="left_40_3" refType="w" fact="0.365"/>
        <dgm:constr type="h" for="ch" forName="left_40_3" refType="h" fact="0.185"/>
        <dgm:constr type="b" for="ch" forName="left_40_3" refType="h" fact="0.43"/>
        <dgm:constr type="ctrX" for="ch" forName="left_40_3" refType="w" fact="0.21"/>
        <dgm:constr type="w" for="ch" forName="left_40_4" refType="w" fact="0.365"/>
        <dgm:constr type="h" for="ch" forName="left_40_4" refType="h" fact="0.185"/>
        <dgm:constr type="b" for="ch" forName="left_40_4" refType="h" fact="0.265"/>
        <dgm:constr type="ctrX" for="ch" forName="left_40_4" refType="w" fact="0.2"/>
        <dgm:constr type="w" for="ch" forName="right_14_1" refType="w" fact="0.365"/>
        <dgm:constr type="h" for="ch" forName="right_14_1" refType="h" fact="0.185"/>
        <dgm:constr type="b" for="ch" forName="right_14_1" refType="h" fact="0.76"/>
        <dgm:constr type="ctrX" for="ch" forName="right_14_1" refType="w" fact="0.77"/>
        <dgm:constr type="w" for="ch" forName="right_14_2" refType="w" fact="0.365"/>
        <dgm:constr type="h" for="ch" forName="right_14_2" refType="h" fact="0.185"/>
        <dgm:constr type="b" for="ch" forName="right_14_2" refType="h" fact="0.595"/>
        <dgm:constr type="ctrX" for="ch" forName="right_14_2" refType="w" fact="0.78"/>
        <dgm:constr type="w" for="ch" forName="right_14_3" refType="w" fact="0.365"/>
        <dgm:constr type="h" for="ch" forName="right_14_3" refType="h" fact="0.185"/>
        <dgm:constr type="b" for="ch" forName="right_14_3" refType="h" fact="0.43"/>
        <dgm:constr type="ctrX" for="ch" forName="right_14_3" refType="w" fact="0.79"/>
        <dgm:constr type="w" for="ch" forName="right_14_4" refType="w" fact="0.365"/>
        <dgm:constr type="h" for="ch" forName="right_14_4" refType="h" fact="0.185"/>
        <dgm:constr type="b" for="ch" forName="right_14_4" refType="h" fact="0.265"/>
        <dgm:constr type="ctrX" for="ch" forName="right_14_4" refType="w" fact="0.8"/>
        <dgm:constr type="w" for="ch" forName="left_14_1" refType="w" fact="0.365"/>
        <dgm:constr type="h" for="ch" forName="left_14_1" refType="h" fact="0.185"/>
        <dgm:constr type="b" for="ch" forName="left_14_1" refType="h" fact="0.715"/>
        <dgm:constr type="ctrX" for="ch" forName="left_14_1" refType="w" fact="0.25"/>
        <dgm:constr type="w" for="ch" forName="left_41_1" refType="w" fact="0.365"/>
        <dgm:constr type="h" for="ch" forName="left_41_1" refType="h" fact="0.185"/>
        <dgm:constr type="b" for="ch" forName="left_41_1" refType="h" fact="0.76"/>
        <dgm:constr type="ctrX" for="ch" forName="left_41_1" refType="w" fact="0.23"/>
        <dgm:constr type="w" for="ch" forName="left_41_2" refType="w" fact="0.365"/>
        <dgm:constr type="h" for="ch" forName="left_41_2" refType="h" fact="0.185"/>
        <dgm:constr type="b" for="ch" forName="left_41_2" refType="h" fact="0.595"/>
        <dgm:constr type="ctrX" for="ch" forName="left_41_2" refType="w" fact="0.22"/>
        <dgm:constr type="w" for="ch" forName="left_41_3" refType="w" fact="0.365"/>
        <dgm:constr type="h" for="ch" forName="left_41_3" refType="h" fact="0.185"/>
        <dgm:constr type="b" for="ch" forName="left_41_3" refType="h" fact="0.43"/>
        <dgm:constr type="ctrX" for="ch" forName="left_41_3" refType="w" fact="0.21"/>
        <dgm:constr type="w" for="ch" forName="left_41_4" refType="w" fact="0.365"/>
        <dgm:constr type="h" for="ch" forName="left_41_4" refType="h" fact="0.185"/>
        <dgm:constr type="b" for="ch" forName="left_41_4" refType="h" fact="0.265"/>
        <dgm:constr type="ctrX" for="ch" forName="left_41_4" refType="w" fact="0.2"/>
        <dgm:constr type="w" for="ch" forName="right_41_1" refType="w" fact="0.365"/>
        <dgm:constr type="h" for="ch" forName="right_41_1" refType="h" fact="0.185"/>
        <dgm:constr type="b" for="ch" forName="right_41_1" refType="h" fact="0.715"/>
        <dgm:constr type="ctrX" for="ch" forName="right_41_1" refType="w" fact="0.75"/>
        <dgm:constr type="w" for="ch" forName="right_24_1" refType="w" fact="0.365"/>
        <dgm:constr type="h" for="ch" forName="right_24_1" refType="h" fact="0.185"/>
        <dgm:constr type="b" for="ch" forName="right_24_1" refType="h" fact="0.76"/>
        <dgm:constr type="ctrX" for="ch" forName="right_24_1" refType="w" fact="0.77"/>
        <dgm:constr type="w" for="ch" forName="right_24_2" refType="w" fact="0.365"/>
        <dgm:constr type="h" for="ch" forName="right_24_2" refType="h" fact="0.185"/>
        <dgm:constr type="b" for="ch" forName="right_24_2" refType="h" fact="0.595"/>
        <dgm:constr type="ctrX" for="ch" forName="right_24_2" refType="w" fact="0.78"/>
        <dgm:constr type="w" for="ch" forName="right_24_3" refType="w" fact="0.365"/>
        <dgm:constr type="h" for="ch" forName="right_24_3" refType="h" fact="0.185"/>
        <dgm:constr type="b" for="ch" forName="right_24_3" refType="h" fact="0.43"/>
        <dgm:constr type="ctrX" for="ch" forName="right_24_3" refType="w" fact="0.79"/>
        <dgm:constr type="w" for="ch" forName="right_24_4" refType="w" fact="0.365"/>
        <dgm:constr type="h" for="ch" forName="right_24_4" refType="h" fact="0.185"/>
        <dgm:constr type="b" for="ch" forName="right_24_4" refType="h" fact="0.265"/>
        <dgm:constr type="ctrX" for="ch" forName="right_24_4" refType="w" fact="0.8"/>
        <dgm:constr type="w" for="ch" forName="left_24_1" refType="w" fact="0.365"/>
        <dgm:constr type="h" for="ch" forName="left_24_1" refType="h" fact="0.185"/>
        <dgm:constr type="b" for="ch" forName="left_24_1" refType="h" fact="0.715"/>
        <dgm:constr type="ctrX" for="ch" forName="left_24_1" refType="w" fact="0.25"/>
        <dgm:constr type="w" for="ch" forName="left_24_2" refType="w" fact="0.365"/>
        <dgm:constr type="h" for="ch" forName="left_24_2" refType="h" fact="0.185"/>
        <dgm:constr type="b" for="ch" forName="left_24_2" refType="h" fact="0.55"/>
        <dgm:constr type="ctrX" for="ch" forName="left_24_2" refType="w" fact="0.26"/>
        <dgm:constr type="w" for="ch" forName="left_42_1" refType="w" fact="0.365"/>
        <dgm:constr type="h" for="ch" forName="left_42_1" refType="h" fact="0.185"/>
        <dgm:constr type="b" for="ch" forName="left_42_1" refType="h" fact="0.76"/>
        <dgm:constr type="ctrX" for="ch" forName="left_42_1" refType="w" fact="0.23"/>
        <dgm:constr type="w" for="ch" forName="left_42_2" refType="w" fact="0.365"/>
        <dgm:constr type="h" for="ch" forName="left_42_2" refType="h" fact="0.185"/>
        <dgm:constr type="b" for="ch" forName="left_42_2" refType="h" fact="0.595"/>
        <dgm:constr type="ctrX" for="ch" forName="left_42_2" refType="w" fact="0.22"/>
        <dgm:constr type="w" for="ch" forName="left_42_3" refType="w" fact="0.365"/>
        <dgm:constr type="h" for="ch" forName="left_42_3" refType="h" fact="0.185"/>
        <dgm:constr type="b" for="ch" forName="left_42_3" refType="h" fact="0.43"/>
        <dgm:constr type="ctrX" for="ch" forName="left_42_3" refType="w" fact="0.21"/>
        <dgm:constr type="w" for="ch" forName="left_42_4" refType="w" fact="0.365"/>
        <dgm:constr type="h" for="ch" forName="left_42_4" refType="h" fact="0.185"/>
        <dgm:constr type="b" for="ch" forName="left_42_4" refType="h" fact="0.265"/>
        <dgm:constr type="ctrX" for="ch" forName="left_42_4" refType="w" fact="0.2"/>
        <dgm:constr type="w" for="ch" forName="right_42_1" refType="w" fact="0.365"/>
        <dgm:constr type="h" for="ch" forName="right_42_1" refType="h" fact="0.185"/>
        <dgm:constr type="b" for="ch" forName="right_42_1" refType="h" fact="0.715"/>
        <dgm:constr type="ctrX" for="ch" forName="right_42_1" refType="w" fact="0.75"/>
        <dgm:constr type="w" for="ch" forName="right_42_2" refType="w" fact="0.365"/>
        <dgm:constr type="h" for="ch" forName="right_42_2" refType="h" fact="0.185"/>
        <dgm:constr type="b" for="ch" forName="right_42_2" refType="h" fact="0.55"/>
        <dgm:constr type="ctrX" for="ch" forName="right_42_2" refType="w" fact="0.74"/>
        <dgm:constr type="w" for="ch" forName="right_34_1" refType="w" fact="0.365"/>
        <dgm:constr type="h" for="ch" forName="right_34_1" refType="h" fact="0.185"/>
        <dgm:constr type="b" for="ch" forName="right_34_1" refType="h" fact="0.76"/>
        <dgm:constr type="ctrX" for="ch" forName="right_34_1" refType="w" fact="0.77"/>
        <dgm:constr type="w" for="ch" forName="right_34_2" refType="w" fact="0.365"/>
        <dgm:constr type="h" for="ch" forName="right_34_2" refType="h" fact="0.185"/>
        <dgm:constr type="b" for="ch" forName="right_34_2" refType="h" fact="0.595"/>
        <dgm:constr type="ctrX" for="ch" forName="right_34_2" refType="w" fact="0.78"/>
        <dgm:constr type="w" for="ch" forName="right_34_3" refType="w" fact="0.365"/>
        <dgm:constr type="h" for="ch" forName="right_34_3" refType="h" fact="0.185"/>
        <dgm:constr type="b" for="ch" forName="right_34_3" refType="h" fact="0.43"/>
        <dgm:constr type="ctrX" for="ch" forName="right_34_3" refType="w" fact="0.79"/>
        <dgm:constr type="w" for="ch" forName="right_34_4" refType="w" fact="0.365"/>
        <dgm:constr type="h" for="ch" forName="right_34_4" refType="h" fact="0.185"/>
        <dgm:constr type="b" for="ch" forName="right_34_4" refType="h" fact="0.265"/>
        <dgm:constr type="ctrX" for="ch" forName="right_34_4" refType="w" fact="0.8"/>
        <dgm:constr type="w" for="ch" forName="left_34_1" refType="w" fact="0.365"/>
        <dgm:constr type="h" for="ch" forName="left_34_1" refType="h" fact="0.185"/>
        <dgm:constr type="b" for="ch" forName="left_34_1" refType="h" fact="0.715"/>
        <dgm:constr type="ctrX" for="ch" forName="left_34_1" refType="w" fact="0.25"/>
        <dgm:constr type="w" for="ch" forName="left_34_2" refType="w" fact="0.365"/>
        <dgm:constr type="h" for="ch" forName="left_34_2" refType="h" fact="0.185"/>
        <dgm:constr type="b" for="ch" forName="left_34_2" refType="h" fact="0.55"/>
        <dgm:constr type="ctrX" for="ch" forName="left_34_2" refType="w" fact="0.26"/>
        <dgm:constr type="w" for="ch" forName="left_34_3" refType="w" fact="0.365"/>
        <dgm:constr type="h" for="ch" forName="left_34_3" refType="h" fact="0.185"/>
        <dgm:constr type="b" for="ch" forName="left_34_3" refType="h" fact="0.385"/>
        <dgm:constr type="ctrX" for="ch" forName="left_34_3" refType="w" fact="0.27"/>
        <dgm:constr type="w" for="ch" forName="left_43_1" refType="w" fact="0.365"/>
        <dgm:constr type="h" for="ch" forName="left_43_1" refType="h" fact="0.185"/>
        <dgm:constr type="b" for="ch" forName="left_43_1" refType="h" fact="0.76"/>
        <dgm:constr type="ctrX" for="ch" forName="left_43_1" refType="w" fact="0.23"/>
        <dgm:constr type="w" for="ch" forName="left_43_2" refType="w" fact="0.365"/>
        <dgm:constr type="h" for="ch" forName="left_43_2" refType="h" fact="0.185"/>
        <dgm:constr type="b" for="ch" forName="left_43_2" refType="h" fact="0.595"/>
        <dgm:constr type="ctrX" for="ch" forName="left_43_2" refType="w" fact="0.22"/>
        <dgm:constr type="w" for="ch" forName="left_43_3" refType="w" fact="0.365"/>
        <dgm:constr type="h" for="ch" forName="left_43_3" refType="h" fact="0.185"/>
        <dgm:constr type="b" for="ch" forName="left_43_3" refType="h" fact="0.43"/>
        <dgm:constr type="ctrX" for="ch" forName="left_43_3" refType="w" fact="0.21"/>
        <dgm:constr type="w" for="ch" forName="left_43_4" refType="w" fact="0.365"/>
        <dgm:constr type="h" for="ch" forName="left_43_4" refType="h" fact="0.185"/>
        <dgm:constr type="b" for="ch" forName="left_43_4" refType="h" fact="0.265"/>
        <dgm:constr type="ctrX" for="ch" forName="left_43_4" refType="w" fact="0.2"/>
        <dgm:constr type="w" for="ch" forName="right_43_1" refType="w" fact="0.365"/>
        <dgm:constr type="h" for="ch" forName="right_43_1" refType="h" fact="0.185"/>
        <dgm:constr type="b" for="ch" forName="right_43_1" refType="h" fact="0.715"/>
        <dgm:constr type="ctrX" for="ch" forName="right_43_1" refType="w" fact="0.75"/>
        <dgm:constr type="w" for="ch" forName="right_43_2" refType="w" fact="0.365"/>
        <dgm:constr type="h" for="ch" forName="right_43_2" refType="h" fact="0.185"/>
        <dgm:constr type="b" for="ch" forName="right_43_2" refType="h" fact="0.55"/>
        <dgm:constr type="ctrX" for="ch" forName="right_43_2" refType="w" fact="0.74"/>
        <dgm:constr type="w" for="ch" forName="right_43_3" refType="w" fact="0.365"/>
        <dgm:constr type="h" for="ch" forName="right_43_3" refType="h" fact="0.185"/>
        <dgm:constr type="b" for="ch" forName="right_43_3" refType="h" fact="0.385"/>
        <dgm:constr type="ctrX" for="ch" forName="right_43_3" refType="w" fact="0.73"/>
        <dgm:constr type="w" for="ch" forName="right_44_1" refType="w" fact="0.36"/>
        <dgm:constr type="h" for="ch" forName="right_44_1" refType="h" fact="0.154"/>
        <dgm:constr type="b" for="ch" forName="right_44_1" refType="h" fact="0.725"/>
        <dgm:constr type="ctrX" for="ch" forName="right_44_1" refType="w" fact="0.76"/>
        <dgm:constr type="w" for="ch" forName="right_44_2" refType="w" fact="0.36"/>
        <dgm:constr type="h" for="ch" forName="right_44_2" refType="h" fact="0.154"/>
        <dgm:constr type="b" for="ch" forName="right_44_2" refType="h" fact="0.559"/>
        <dgm:constr type="ctrX" for="ch" forName="right_44_2" refType="w" fact="0.76"/>
        <dgm:constr type="w" for="ch" forName="right_44_3" refType="w" fact="0.36"/>
        <dgm:constr type="h" for="ch" forName="right_44_3" refType="h" fact="0.154"/>
        <dgm:constr type="b" for="ch" forName="right_44_3" refType="h" fact="0.393"/>
        <dgm:constr type="ctrX" for="ch" forName="right_44_3" refType="w" fact="0.76"/>
        <dgm:constr type="w" for="ch" forName="right_44_4" refType="w" fact="0.36"/>
        <dgm:constr type="h" for="ch" forName="right_44_4" refType="h" fact="0.154"/>
        <dgm:constr type="b" for="ch" forName="right_44_4" refType="h" fact="0.224"/>
        <dgm:constr type="ctrX" for="ch" forName="right_44_4" refType="w" fact="0.76"/>
        <dgm:constr type="w" for="ch" forName="left_44_1" refType="w" fact="0.36"/>
        <dgm:constr type="h" for="ch" forName="left_44_1" refType="h" fact="0.154"/>
        <dgm:constr type="b" for="ch" forName="left_44_1" refType="h" fact="0.725"/>
        <dgm:constr type="ctrX" for="ch" forName="left_44_1" refType="w" fact="0.24"/>
        <dgm:constr type="w" for="ch" forName="left_44_2" refType="w" fact="0.36"/>
        <dgm:constr type="h" for="ch" forName="left_44_2" refType="h" fact="0.154"/>
        <dgm:constr type="b" for="ch" forName="left_44_2" refType="h" fact="0.559"/>
        <dgm:constr type="ctrX" for="ch" forName="left_44_2" refType="w" fact="0.24"/>
        <dgm:constr type="w" for="ch" forName="left_44_3" refType="w" fact="0.36"/>
        <dgm:constr type="h" for="ch" forName="left_44_3" refType="h" fact="0.154"/>
        <dgm:constr type="b" for="ch" forName="left_44_3" refType="h" fact="0.393"/>
        <dgm:constr type="ctrX" for="ch" forName="left_44_3" refType="w" fact="0.24"/>
        <dgm:constr type="w" for="ch" forName="left_44_4" refType="w" fact="0.36"/>
        <dgm:constr type="h" for="ch" forName="left_44_4" refType="h" fact="0.154"/>
        <dgm:constr type="b" for="ch" forName="left_44_4" refType="h" fact="0.224"/>
        <dgm:constr type="ctrX" for="ch" forName="left_44_4" refType="w" fact="0.24"/>
      </dgm:constrLst>
      <dgm:ruleLst/>
      <dgm:layoutNode name="dummyMaxCanvas_ChildArea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fulcrum" styleLbl="alignAccFollowNode1">
        <dgm:alg type="sp"/>
        <dgm:shape xmlns:r="http://schemas.openxmlformats.org/officeDocument/2006/relationships" type="triangle" r:blip="">
          <dgm:adjLst/>
        </dgm:shape>
        <dgm:presOf/>
        <dgm:constrLst/>
        <dgm:ruleLst/>
      </dgm:layoutNode>
      <dgm:choose name="Name0">
        <dgm:if name="Name1" axis="ch ch" ptType="node node" st="1 1" cnt="1 0" func="cnt" op="equ" val="0">
          <dgm:choose name="Name2">
            <dgm:if name="Name3" axis="ch ch" ptType="node node" st="2 1" cnt="1 0" func="cnt" op="equ" val="0">
              <dgm:layoutNode name="balance_00" styleLbl="alignAccFollowNode1">
                <dgm:varLst>
                  <dgm:bulletEnabled val="1"/>
                </dgm:varLst>
                <dgm:alg type="sp"/>
                <dgm:shape xmlns:r="http://schemas.openxmlformats.org/officeDocument/2006/relationships" type="rect" r:blip="">
                  <dgm:adjLst/>
                </dgm:shape>
                <dgm:presOf/>
                <dgm:constrLst/>
                <dgm:ruleLst/>
              </dgm:layoutNode>
            </dgm:if>
            <dgm:else name="Name4">
              <dgm:choose name="Name5">
                <dgm:if name="Name6" axis="ch ch" ptType="node node" st="2 1" cnt="1 0" func="cnt" op="equ" val="1">
                  <dgm:layoutNode name="balance_01" styleLbl="alignAccFollowNode1">
                    <dgm:varLst>
                      <dgm:bulletEnabled val="1"/>
                    </dgm:varLst>
                    <dgm:alg type="sp"/>
                    <dgm:shape xmlns:r="http://schemas.openxmlformats.org/officeDocument/2006/relationships" rot="4" type="rect" r:blip="">
                      <dgm:adjLst/>
                    </dgm:shape>
                    <dgm:presOf/>
                    <dgm:constrLst/>
                    <dgm:ruleLst/>
                  </dgm:layoutNode>
                  <dgm:layoutNode name="right_01_1" styleLbl="node1">
                    <dgm:varLst>
                      <dgm:bulletEnabled val="1"/>
                    </dgm:varLst>
                    <dgm:alg type="tx"/>
                    <dgm:shape xmlns:r="http://schemas.openxmlformats.org/officeDocument/2006/relationships" rot="4" type="roundRect" r:blip="">
                      <dgm:adjLst/>
                    </dgm:shape>
                    <dgm:presOf axis="ch ch desOrSelf" ptType="node node node" st="2 1 1" cnt="1 1 0"/>
                    <dgm:constrLst>
                      <dgm:constr type="lMarg" refType="primFontSz" fact="0.3"/>
                      <dgm:constr type="rMarg" refType="primFontSz" fact="0.3"/>
                      <dgm:constr type="tMarg" refType="primFontSz" fact="0.3"/>
                      <dgm:constr type="bMarg" refType="primFontSz" fact="0.3"/>
                    </dgm:constrLst>
                    <dgm:ruleLst>
                      <dgm:rule type="primFontSz" val="5" fact="NaN" max="NaN"/>
                    </dgm:ruleLst>
                  </dgm:layoutNode>
                </dgm:if>
                <dgm:else name="Name7">
                  <dgm:choose name="Name8">
                    <dgm:if name="Name9" axis="ch ch" ptType="node node" st="2 1" cnt="1 0" func="cnt" op="equ" val="2">
                      <dgm:layoutNode name="balance_02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rot="4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right_02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4" type="roundRect" r:blip="">
                          <dgm:adjLst/>
                        </dgm:shape>
                        <dgm:presOf axis="ch ch desOrSelf" ptType="node node node" st="2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right_02_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4" type="roundRect" r:blip="">
                          <dgm:adjLst/>
                        </dgm:shape>
                        <dgm:presOf axis="ch ch desOrSelf" ptType="node node node" st="2 2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10">
                      <dgm:choose name="Name11">
                        <dgm:if name="Name12" axis="ch ch" ptType="node node" st="2 1" cnt="1 0" func="cnt" op="equ" val="3">
                          <dgm:layoutNode name="balance_03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right_03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03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03_3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3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13">
                          <dgm:choose name="Name14">
                            <dgm:if name="Name15" axis="ch ch" ptType="node node" st="2 1" cnt="1 0" func="cnt" op="gte" val="4">
                              <dgm:layoutNode name="balance_04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04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4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4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16"/>
                          </dgm:choose>
                        </dgm:else>
                      </dgm:choose>
                    </dgm:else>
                  </dgm:choose>
                </dgm:else>
              </dgm:choose>
            </dgm:else>
          </dgm:choose>
        </dgm:if>
        <dgm:else name="Name17">
          <dgm:choose name="Name18">
            <dgm:if name="Name19" axis="ch ch" ptType="node node" st="1 1" cnt="1 0" func="cnt" op="equ" val="1">
              <dgm:choose name="Name20">
                <dgm:if name="Name21" axis="ch ch" ptType="node node" st="2 1" cnt="1 0" func="cnt" op="equ" val="0">
                  <dgm:layoutNode name="balance_10" styleLbl="alignAccFollowNode1">
                    <dgm:varLst>
                      <dgm:bulletEnabled val="1"/>
                    </dgm:varLst>
                    <dgm:alg type="sp"/>
                    <dgm:shape xmlns:r="http://schemas.openxmlformats.org/officeDocument/2006/relationships" rot="-4" type="rect" r:blip="">
                      <dgm:adjLst/>
                    </dgm:shape>
                    <dgm:presOf/>
                    <dgm:constrLst/>
                    <dgm:ruleLst/>
                  </dgm:layoutNode>
                  <dgm:layoutNode name="left_10_1" styleLbl="node1">
                    <dgm:varLst>
                      <dgm:bulletEnabled val="1"/>
                    </dgm:varLst>
                    <dgm:alg type="tx"/>
                    <dgm:shape xmlns:r="http://schemas.openxmlformats.org/officeDocument/2006/relationships" rot="-4" type="roundRect" r:blip="">
                      <dgm:adjLst/>
                    </dgm:shape>
                    <dgm:presOf axis="ch ch desOrSelf" ptType="node node node" st="1 1 1" cnt="1 1 0"/>
                    <dgm:constrLst>
                      <dgm:constr type="lMarg" refType="primFontSz" fact="0.3"/>
                      <dgm:constr type="rMarg" refType="primFontSz" fact="0.3"/>
                      <dgm:constr type="tMarg" refType="primFontSz" fact="0.3"/>
                      <dgm:constr type="bMarg" refType="primFontSz" fact="0.3"/>
                    </dgm:constrLst>
                    <dgm:ruleLst>
                      <dgm:rule type="primFontSz" val="5" fact="NaN" max="NaN"/>
                    </dgm:ruleLst>
                  </dgm:layoutNode>
                </dgm:if>
                <dgm:else name="Name22">
                  <dgm:choose name="Name23">
                    <dgm:if name="Name24" axis="ch ch" ptType="node node" st="2 1" cnt="1 0" func="cnt" op="equ" val="1">
                      <dgm:layoutNode name="balance_11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left_11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ch ch desOrSelf" ptType="node node node" st="1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right_11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ch ch desOrSelf" ptType="node node node" st="2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25">
                      <dgm:choose name="Name26">
                        <dgm:if name="Name27" axis="ch ch" ptType="node node" st="2 1" cnt="1 0" func="cnt" op="equ" val="2">
                          <dgm:layoutNode name="balance_12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right_12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12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12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28">
                          <dgm:choose name="Name29">
                            <dgm:if name="Name30" axis="ch ch" ptType="node node" st="2 1" cnt="1 0" func="cnt" op="equ" val="3">
                              <dgm:layoutNode name="balance_13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13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13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13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13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31">
                              <dgm:choose name="Name32">
                                <dgm:if name="Name33" axis="ch ch" ptType="node node" st="2 1" cnt="1 0" func="cnt" op="gte" val="4">
                                  <dgm:layoutNode name="balance_14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right_14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4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4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14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34"/>
                              </dgm:choose>
                            </dgm:else>
                          </dgm:choose>
                        </dgm:else>
                      </dgm:choose>
                    </dgm:else>
                  </dgm:choose>
                </dgm:else>
              </dgm:choose>
            </dgm:if>
            <dgm:else name="Name35">
              <dgm:choose name="Name36">
                <dgm:if name="Name37" axis="ch ch" ptType="node node" st="1 1" cnt="1 0" func="cnt" op="equ" val="2">
                  <dgm:choose name="Name38">
                    <dgm:if name="Name39" axis="ch ch" ptType="node node" st="2 1" cnt="1 0" func="cnt" op="equ" val="0">
                      <dgm:layoutNode name="balance_20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rot="-4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left_20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-4" type="roundRect" r:blip="">
                          <dgm:adjLst/>
                        </dgm:shape>
                        <dgm:presOf axis="ch ch desOrSelf" ptType="node node node" st="1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left_20_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-4" type="roundRect" r:blip="">
                          <dgm:adjLst/>
                        </dgm:shape>
                        <dgm:presOf axis="ch ch desOrSelf" ptType="node node node" st="1 2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40">
                      <dgm:choose name="Name41">
                        <dgm:if name="Name42" axis="ch ch" ptType="node node" st="2 1" cnt="1 0" func="cnt" op="equ" val="1">
                          <dgm:layoutNode name="balance_21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-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left_21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21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21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43">
                          <dgm:choose name="Name44">
                            <dgm:if name="Name45" axis="ch ch" ptType="node node" st="2 1" cnt="1 0" func="cnt" op="equ" val="2">
                              <dgm:layoutNode name="balance_22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22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22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22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22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46">
                              <dgm:choose name="Name47">
                                <dgm:if name="Name48" axis="ch ch" ptType="node node" st="2 1" cnt="1 0" func="cnt" op="equ" val="3">
                                  <dgm:layoutNode name="balance_23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right_23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23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23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23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23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49">
                                  <dgm:choose name="Name50">
                                    <dgm:if name="Name51" axis="ch ch" ptType="node node" st="2 1" cnt="1 0" func="cnt" op="gte" val="4">
                                      <dgm:layoutNode name="balance_24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rot="4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right_24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4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4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24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24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52"/>
                                  </dgm:choose>
                                </dgm:else>
                              </dgm:choose>
                            </dgm:else>
                          </dgm:choose>
                        </dgm:else>
                      </dgm:choose>
                    </dgm:else>
                  </dgm:choose>
                </dgm:if>
                <dgm:else name="Name53">
                  <dgm:choose name="Name54">
                    <dgm:if name="Name55" axis="ch ch" ptType="node node" st="1 1" cnt="1 0" func="cnt" op="equ" val="3">
                      <dgm:choose name="Name56">
                        <dgm:if name="Name57" axis="ch ch" ptType="node node" st="2 1" cnt="1 0" func="cnt" op="equ" val="0">
                          <dgm:layoutNode name="balance_30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-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left_30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30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30_3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3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58">
                          <dgm:choose name="Name59">
                            <dgm:if name="Name60" axis="ch ch" ptType="node node" st="2 1" cnt="1 0" func="cnt" op="equ" val="1">
                              <dgm:layoutNode name="balance_31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-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left_31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31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31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31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61">
                              <dgm:choose name="Name62">
                                <dgm:if name="Name63" axis="ch ch" ptType="node node" st="2 1" cnt="1 0" func="cnt" op="equ" val="2">
                                  <dgm:layoutNode name="balance_32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-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left_32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32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32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32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32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64">
                                  <dgm:choose name="Name65">
                                    <dgm:if name="Name66" axis="ch ch" ptType="node node" st="2 1" cnt="1 0" func="cnt" op="equ" val="3">
                                      <dgm:layoutNode name="balance_33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right_33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33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33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67">
                                      <dgm:choose name="Name68">
                                        <dgm:if name="Name69" axis="ch ch" ptType="node node" st="2 1" cnt="1 0" func="cnt" op="gte" val="4">
                                          <dgm:layoutNode name="balance_34" styleLbl="alignAccFollowNode1">
                                            <dgm:varLst>
                                              <dgm:bulletEnabled val="1"/>
                                            </dgm:varLst>
                                            <dgm:alg type="sp"/>
                                            <dgm:shape xmlns:r="http://schemas.openxmlformats.org/officeDocument/2006/relationships" rot="4" type="rect" r:blip="">
                                              <dgm:adjLst/>
                                            </dgm:shape>
                                            <dgm:presOf/>
                                            <dgm:constrLst/>
                                            <dgm:ruleLst/>
                                          </dgm:layoutNode>
                                          <dgm:layoutNode name="right_34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4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4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</dgm:if>
                                        <dgm:else name="Name70"/>
                                      </dgm:choose>
                                    </dgm:else>
                                  </dgm:choose>
                                </dgm:else>
                              </dgm:choose>
                            </dgm:else>
                          </dgm:choose>
                        </dgm:else>
                      </dgm:choose>
                    </dgm:if>
                    <dgm:else name="Name71">
                      <dgm:choose name="Name72">
                        <dgm:if name="Name73" axis="ch ch" ptType="node node" st="1 1" cnt="1 0" func="cnt" op="gte" val="4">
                          <dgm:choose name="Name74">
                            <dgm:if name="Name75" axis="ch ch" ptType="node node" st="2 1" cnt="1 0" func="cnt" op="equ" val="0">
                              <dgm:layoutNode name="balance_40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-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left_40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4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4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76">
                              <dgm:choose name="Name77">
                                <dgm:if name="Name78" axis="ch ch" ptType="node node" st="2 1" cnt="1 0" func="cnt" op="equ" val="1">
                                  <dgm:layoutNode name="balance_41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-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left_41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4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4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41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79">
                                  <dgm:choose name="Name80">
                                    <dgm:if name="Name81" axis="ch ch" ptType="node node" st="2 1" cnt="1 0" func="cnt" op="equ" val="2">
                                      <dgm:layoutNode name="balance_42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rot="-4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left_42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4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4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42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42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82">
                                      <dgm:choose name="Name83">
                                        <dgm:if name="Name84" axis="ch ch" ptType="node node" st="2 1" cnt="1 0" func="cnt" op="equ" val="3">
                                          <dgm:layoutNode name="balance_43" styleLbl="alignAccFollowNode1">
                                            <dgm:varLst>
                                              <dgm:bulletEnabled val="1"/>
                                            </dgm:varLst>
                                            <dgm:alg type="sp"/>
                                            <dgm:shape xmlns:r="http://schemas.openxmlformats.org/officeDocument/2006/relationships" rot="-4" type="rect" r:blip="">
                                              <dgm:adjLst/>
                                            </dgm:shape>
                                            <dgm:presOf/>
                                            <dgm:constrLst/>
                                            <dgm:ruleLst/>
                                          </dgm:layoutNode>
                                          <dgm:layoutNode name="left_43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4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4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</dgm:if>
                                        <dgm:else name="Name85">
                                          <dgm:choose name="Name86">
                                            <dgm:if name="Name87" axis="ch ch" ptType="node node" st="2 1" cnt="1 0" func="cnt" op="gte" val="4">
                                              <dgm:layoutNode name="balance_44" styleLbl="alignAccFollowNode1">
                                                <dgm:varLst>
                                                  <dgm:bulletEnabled val="1"/>
                                                </dgm:varLst>
                                                <dgm:alg type="sp"/>
                                                <dgm:shape xmlns:r="http://schemas.openxmlformats.org/officeDocument/2006/relationships" type="rect" r:blip="">
                                                  <dgm:adjLst/>
                                                </dgm:shape>
                                                <dgm:presOf/>
                                                <dgm:constrLst/>
                                                <dgm:ruleLst/>
                                              </dgm:layoutNode>
                                              <dgm:layoutNode name="right_44_1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1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2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2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3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3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4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4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1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1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2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2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3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3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4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4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</dgm:if>
                                            <dgm:else name="Name88"/>
                                          </dgm:choose>
                                        </dgm:else>
                                      </dgm:choose>
                                    </dgm:else>
                                  </dgm:choose>
                                </dgm:else>
                              </dgm:choose>
                            </dgm:else>
                          </dgm:choose>
                        </dgm:if>
                        <dgm:else name="Name89"/>
                      </dgm:choose>
                    </dgm:else>
                  </dgm:choose>
                </dgm:else>
              </dgm:choose>
            </dgm:else>
          </dgm:choose>
        </dgm:else>
      </dgm:choose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RadialCluster">
  <dgm:title val=""/>
  <dgm:desc val=""/>
  <dgm:catLst>
    <dgm:cat type="relationship" pri="19500"/>
    <dgm:cat type="cycle" pri="1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alg type="composite">
      <dgm:param type="ar" val="1.00"/>
    </dgm:alg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cnt="1 0" func="cnt" op="equ" val="1">
            <dgm:constrLst>
              <dgm:constr type="l" for="ch" forName="textCenter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r" for="ch" forName="cycle_1" refType="w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5" axis="ch ch" ptType="node node" cnt="1 0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6" axis="ch ch" ptType="node node" cnt="1 0" func="cnt" op="equ" val="3">
            <dgm:choose name="Name7">
              <dgm:if name="Name8" axis="ch ch ch" ptType="node node node" st="1 2 0" cnt="1 1 0" func="cnt" op="equ" val="1">
                <dgm:choose name="Name9">
                  <dgm:if name="Name10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12">
                <dgm:choose name="Name13">
                  <dgm:if name="Name14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5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16" axis="ch ch" ptType="node node" cnt="1 0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r" for="ch" forName="cycle_2" refType="w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l" for="ch" forName="cycle_4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17" axis="ch ch" ptType="node node" cnt="1 0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r" for="ch" forName="cycle_3" refType="w" fact="0.89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l" for="ch" forName="cycle_4" refType="w" fact="0.11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18" axis="ch ch" ptType="node node" cnt="1 0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r" for="ch" forName="cycle_3" refType="w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l" for="ch" forName="cycle_6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19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r" for="ch" forName="cycle_2" refType="w" fact="0.938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r" for="ch" forName="cycle_3" refType="w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r" for="ch" forName="cycle_4" refType="w" fact="0.8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l" for="ch" forName="cycle_5" refType="w" fact="0.2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l" for="ch" forName="cycle_6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l" for="ch" forName="cycle_7" refType="w" fact="0.062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if>
      <dgm:else name="Name20">
        <dgm:choose name="Name21">
          <dgm:if name="Name22" axis="ch ch" ptType="node node" func="cnt" op="equ" val="1">
            <dgm:constrLst>
              <dgm:constr type="r" for="ch" forName="textCenter" refType="w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l" for="ch" forName="cycle_1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23" axis="ch ch" ptType="node node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24" axis="ch ch" ptType="node node" func="cnt" op="equ" val="3">
            <dgm:choose name="Name25">
              <dgm:if name="Name26" axis="ch ch ch" ptType="node node node" st="1 2 0" cnt="1 1 0" func="cnt" op="equ" val="1">
                <dgm:choose name="Name27">
                  <dgm:if name="Name28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29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30">
                <dgm:choose name="Name31">
                  <dgm:if name="Name32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33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34" axis="ch ch" ptType="node node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l" for="ch" forName="cycle_2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r" for="ch" forName="cycle_4" refType="w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35" axis="ch ch" ptType="node node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l" for="ch" forName="cycle_3" refType="w" fact="0.11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r" for="ch" forName="cycle_4" refType="w" fact="0.89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36" axis="ch ch" ptType="node node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l" for="ch" forName="cycle_3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r" for="ch" forName="cycle_6" refType="w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37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l" for="ch" forName="cycle_2" refType="w" fact="0.062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l" for="ch" forName="cycle_3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l" for="ch" forName="cycle_4" refType="w" fact="0.2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r" for="ch" forName="cycle_5" refType="w" fact="0.8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r" for="ch" forName="cycle_6" refType="w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r" for="ch" forName="cycle_7" refType="w" fact="0.938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else>
    </dgm:choose>
    <dgm:forEach name="Name38" axis="ch" ptType="node" cnt="1">
      <dgm:choose name="Name39">
        <dgm:if name="Name40" axis="des" func="maxDepth" op="lte" val="1">
          <dgm:layoutNode name="singleCycle">
            <dgm:choose name="Name41">
              <dgm:if name="Name42" axis="ch" ptType="node" func="cnt" op="equ" val="1">
                <dgm:choose name="Name43">
                  <dgm:if name="Name44" func="var" arg="dir" op="equ" val="norm">
                    <dgm:alg type="cycle">
                      <dgm:param type="stAng" val="90"/>
                      <dgm:param type="ctrShpMap" val="fNode"/>
                    </dgm:alg>
                  </dgm:if>
                  <dgm:else name="Name45">
                    <dgm:alg type="cycle">
                      <dgm:param type="stAng" val="-90"/>
                      <dgm:param type="spanAng" val="-360"/>
                      <dgm:param type="ctrShpMap" val="fNode"/>
                    </dgm:alg>
                  </dgm:else>
                </dgm:choose>
              </dgm:if>
              <dgm:else name="Name46">
                <dgm:choose name="Name47">
                  <dgm:if name="Name48" func="var" arg="dir" op="equ" val="norm">
                    <dgm:alg type="cycle">
                      <dgm:param type="ctrShpMap" val="fNode"/>
                    </dgm:alg>
                  </dgm:if>
                  <dgm:else name="Name49">
                    <dgm:alg type="cycle">
                      <dgm:param type="spanAng" val="-360"/>
                      <dgm:param type="ctrShpMap" val="fNode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hoose name="Name50">
              <dgm:if name="Name51" axis="ch" ptType="node" func="cnt" op="equ" val="0">
                <dgm:constrLst>
                  <dgm:constr type="w" for="ch" forName="singleCenter" refType="w"/>
                  <dgm:constr type="h" for="ch" forName="singleCenter" refType="w" refFor="ch" refForName="singleCenter"/>
                </dgm:constrLst>
              </dgm:if>
              <dgm:if name="Name52" axis="ch" ptType="node" func="cnt" op="equ" val="1">
                <dgm:constrLst>
                  <dgm:constr type="w" for="ch" forName="singleCenter" refType="w" fact="0.5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if>
              <dgm:else name="Name53">
                <dgm:constrLst>
                  <dgm:constr type="w" for="ch" forName="singleCenter" refType="w" fact="0.3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else>
            </dgm:choose>
            <dgm:layoutNode name="singleCenter" styleLbl="node1">
              <dgm:varLst>
                <dgm:chMax val="7"/>
                <dgm:chPref val="7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self" ptType="node"/>
              <dgm:constrLst>
                <dgm:constr type="tMarg" refType="primFontSz" fact="0.2"/>
                <dgm:constr type="bMarg" refType="primFontSz" fact="0.2"/>
                <dgm:constr type="lMarg" refType="primFontSz" fact="0.2"/>
                <dgm:constr type="rMarg" refType="primFontSz" fact="0.2"/>
              </dgm:constrLst>
              <dgm:ruleLst>
                <dgm:rule type="primFontSz" val="5" fact="NaN" max="NaN"/>
              </dgm:ruleLst>
            </dgm:layoutNode>
            <dgm:forEach name="Name54" axis="ch" cnt="21">
              <dgm:forEach name="Name55" axis="self" ptType="parTrans">
                <dgm:layoutNode name="Name56">
                  <dgm:alg type="conn">
                    <dgm:param type="dim" val="1D"/>
                    <dgm:param type="begPts" val="auto"/>
                    <dgm:param type="endPts" val="auto"/>
                    <dgm:param type="begSty" val="noArr"/>
                    <dgm:param type="endSty" val="noArr"/>
                  </dgm:alg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forEach name="Name57" axis="self" ptType="node">
                <dgm:layoutNode name="text0" styleLbl="node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/>
                  </dgm:shape>
                  <dgm:presOf axis="desOrSelf" ptType="node"/>
                  <dgm:constrLst>
                    <dgm:constr type="userS"/>
                    <dgm:constr type="w" refType="userS"/>
                    <dgm:constr type="h" refType="w"/>
                    <dgm:constr type="tMarg" refType="primFontSz" fact="0.2"/>
                    <dgm:constr type="bMarg" refType="primFontSz" fact="0.2"/>
                    <dgm:constr type="lMarg" refType="primFontSz" fact="0.2"/>
                    <dgm:constr type="rMarg" refType="primFontSz" fact="0.2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if>
        <dgm:else name="Name58">
          <dgm:layoutNode name="textCenter" styleLbl="node1">
            <dgm:alg type="tx"/>
            <dgm:shape xmlns:r="http://schemas.openxmlformats.org/officeDocument/2006/relationships" type="roundRect" r:blip="">
              <dgm:adjLst/>
            </dgm:shape>
            <dgm:presOf axis="self" ptType="node"/>
            <dgm:constrLst>
              <dgm:constr type="tMarg" refType="primFontSz" fact="0.2"/>
              <dgm:constr type="bMarg" refType="primFontSz" fact="0.2"/>
              <dgm:constr type="lMarg" refType="primFontSz" fact="0.2"/>
              <dgm:constr type="rMarg" refType="primFontSz" fact="0.2"/>
            </dgm:constrLst>
            <dgm:ruleLst>
              <dgm:rule type="primFontSz" val="5" fact="NaN" max="NaN"/>
            </dgm:ruleLst>
          </dgm:layoutNode>
          <dgm:choose name="Name59">
            <dgm:if name="Name60" axis="ch" ptType="node" func="cnt" op="gte" val="1">
              <dgm:layoutNode name="cycle_1">
                <dgm:choose name="Name61">
                  <dgm:if name="Name62" func="var" arg="dir" op="equ" val="norm">
                    <dgm:choose name="Name63">
                      <dgm:if name="Name64" axis="ch" ptType="node" func="cnt" op="equ" val="1">
                        <dgm:choose name="Name65">
                          <dgm:if name="Name66" axis="ch ch" ptType="node node" st="1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67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68">
                            <dgm:alg type="cycle">
                              <dgm:param type="ctrShpMap" val="fNode"/>
                              <dgm:param type="stAng" val="0"/>
                              <dgm:param type="spanAng" val="180"/>
                            </dgm:alg>
                          </dgm:else>
                        </dgm:choose>
                      </dgm:if>
                      <dgm:if name="Name69" axis="ch" ptType="node" func="cnt" op="equ" val="2">
                        <dgm:choose name="Name70">
                          <dgm:if name="Name7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3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4" axis="ch" ptType="node" func="cnt" op="equ" val="3">
                        <dgm:choose name="Name75">
                          <dgm:if name="Name7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8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9" axis="ch" ptType="node" func="cnt" op="equ" val="4">
                        <dgm:choose name="Name80">
                          <dgm:if name="Name8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3">
                            <dgm:alg type="cycle">
                              <dgm:param type="ctrShpMap" val="fNode"/>
                              <dgm:param type="stAng" val="292.5"/>
                              <dgm:param type="spanAng" val="135"/>
                            </dgm:alg>
                          </dgm:else>
                        </dgm:choose>
                      </dgm:if>
                      <dgm:if name="Name84" axis="ch" ptType="node" func="cnt" op="equ" val="5">
                        <dgm:choose name="Name85">
                          <dgm:if name="Name8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89" axis="ch" ptType="node" func="cnt" op="equ" val="6">
                        <dgm:choose name="Name90">
                          <dgm:if name="Name9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94" axis="ch" ptType="node" func="cnt" op="gte" val="7">
                        <dgm:choose name="Name95">
                          <dgm:if name="Name9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99"/>
                    </dgm:choose>
                  </dgm:if>
                  <dgm:else name="Name100">
                    <dgm:choose name="Name101">
                      <dgm:if name="Name102" axis="ch" ptType="node" func="cnt" op="equ" val="1">
                        <dgm:choose name="Name103">
                          <dgm:if name="Name104" axis="ch ch" ptType="node node" st="1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05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06">
                            <dgm:alg type="cycle">
                              <dgm:param type="ctrShpMap" val="fNode"/>
                              <dgm:param type="stAng" val="0"/>
                              <dgm:param type="spanAng" val="-180"/>
                            </dgm:alg>
                          </dgm:else>
                        </dgm:choose>
                      </dgm:if>
                      <dgm:if name="Name107" axis="ch" ptType="node" func="cnt" op="equ" val="2">
                        <dgm:choose name="Name108">
                          <dgm:if name="Name10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1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2" axis="ch" ptType="node" func="cnt" op="equ" val="3">
                        <dgm:choose name="Name113">
                          <dgm:if name="Name11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6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7" axis="ch" ptType="node" func="cnt" op="equ" val="4">
                        <dgm:choose name="Name118">
                          <dgm:if name="Name11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1">
                            <dgm:alg type="cycle">
                              <dgm:param type="ctrShpMap" val="fNode"/>
                              <dgm:param type="stAng" val="67.5"/>
                              <dgm:param type="spanAng" val="-135"/>
                            </dgm:alg>
                          </dgm:else>
                        </dgm:choose>
                      </dgm:if>
                      <dgm:if name="Name122" axis="ch" ptType="node" func="cnt" op="equ" val="5">
                        <dgm:choose name="Name123">
                          <dgm:if name="Name12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27" axis="ch" ptType="node" func="cnt" op="equ" val="6">
                        <dgm:choose name="Name128">
                          <dgm:if name="Name12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32" axis="ch" ptType="node" func="cnt" op="gte" val="7">
                        <dgm:choose name="Name133">
                          <dgm:if name="Name13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137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138" axis="ch" ptType="node" cnt="1">
                  <dgm:layoutNode name="childCenter1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139" axis="ch">
                    <dgm:forEach name="Name140" axis="self" ptType="parTrans">
                      <dgm:layoutNode name="Name141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142" axis="self" ptType="node">
                      <dgm:layoutNode name="text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143" axis="ch" ptType="parTrans" cnt="1">
                <dgm:layoutNode name="Name144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1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145"/>
          </dgm:choose>
          <dgm:choose name="Name146">
            <dgm:if name="Name147" axis="ch" ptType="node" func="cnt" op="gte" val="2">
              <dgm:layoutNode name="cycle_2">
                <dgm:choose name="Name148">
                  <dgm:if name="Name149" func="var" arg="dir" op="equ" val="norm">
                    <dgm:choose name="Name150">
                      <dgm:if name="Name151" axis="ch" ptType="node" func="cnt" op="equ" val="2">
                        <dgm:choose name="Name152">
                          <dgm:if name="Name153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54" axis="ch ch" ptType="node node" st="2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155">
                            <dgm:alg type="cycle">
                              <dgm:param type="ctrShpMap" val="fNode"/>
                              <dgm:param type="stAng" val="90"/>
                              <dgm:param type="spanAng" val="180"/>
                            </dgm:alg>
                          </dgm:else>
                        </dgm:choose>
                      </dgm:if>
                      <dgm:if name="Name156" axis="ch" ptType="node" func="cnt" op="equ" val="3">
                        <dgm:choose name="Name157">
                          <dgm:if name="Name158" axis="ch ch" ptType="node node" st="2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159" axis="ch ch" ptType="node node" st="2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  <dgm:param type="horzAlign" val="r"/>
                              <dgm:param type="vertAlign" val="b"/>
                            </dgm:alg>
                          </dgm:if>
                          <dgm:else name="Name160">
                            <dgm:alg type="cycle">
                              <dgm:param type="ctrShpMap" val="fNode"/>
                              <dgm:param type="stAng" val="30"/>
                              <dgm:param type="spanAng" val="180"/>
                            </dgm:alg>
                          </dgm:else>
                        </dgm:choose>
                      </dgm:if>
                      <dgm:if name="Name161" axis="ch" ptType="node" func="cnt" op="equ" val="4">
                        <dgm:choose name="Name162">
                          <dgm:if name="Name163" axis="ch ch" ptType="node node" st="2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164" axis="ch ch" ptType="node node" st="2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165">
                            <dgm:alg type="cycle">
                              <dgm:param type="ctrShpMap" val="fNode"/>
                              <dgm:param type="stAng" val="22.5"/>
                              <dgm:param type="spanAng" val="135"/>
                            </dgm:alg>
                          </dgm:else>
                        </dgm:choose>
                      </dgm:if>
                      <dgm:if name="Name166" axis="ch" ptType="node" func="cnt" op="equ" val="5">
                        <dgm:choose name="Name167">
                          <dgm:if name="Name168" axis="ch ch" ptType="node node" st="2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169" axis="ch ch" ptType="node node" st="2 1" cnt="1 0" func="cnt" op="equ" val="2">
                            <dgm:alg type="cycle">
                              <dgm:param type="ctrShpMap" val="fNode"/>
                              <dgm:param type="stAng" val="27"/>
                              <dgm:param type="spanAng" val="90"/>
                            </dgm:alg>
                          </dgm:if>
                          <dgm:else name="Name17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1" axis="ch" ptType="node" func="cnt" op="equ" val="6">
                        <dgm:choose name="Name172">
                          <dgm:if name="Name173" axis="ch ch" ptType="node node" st="2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174" axis="ch ch" ptType="node node" st="2 1" cnt="1 0" func="cnt" op="equ" val="2">
                            <dgm:alg type="cycle">
                              <dgm:param type="ctrShpMap" val="fNode"/>
                              <dgm:param type="stAng" val="15"/>
                              <dgm:param type="spanAng" val="90"/>
                            </dgm:alg>
                          </dgm:if>
                          <dgm:else name="Name175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6" axis="ch" ptType="node" func="cnt" op="gte" val="7">
                        <dgm:choose name="Name177">
                          <dgm:if name="Name178" axis="ch ch" ptType="node node" st="2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179" axis="ch ch" ptType="node node" st="2 1" cnt="1 0" func="cnt" op="equ" val="2">
                            <dgm:alg type="cycle">
                              <dgm:param type="ctrShpMap" val="fNode"/>
                              <dgm:param type="stAng" val="6"/>
                              <dgm:param type="spanAng" val="90"/>
                            </dgm:alg>
                          </dgm:if>
                          <dgm:else name="Name18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181"/>
                    </dgm:choose>
                  </dgm:if>
                  <dgm:else name="Name182">
                    <dgm:choose name="Name183">
                      <dgm:if name="Name184" axis="ch" ptType="node" func="cnt" op="equ" val="2">
                        <dgm:choose name="Name185">
                          <dgm:if name="Name186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87" axis="ch ch" ptType="node node" st="2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188">
                            <dgm:alg type="cycle">
                              <dgm:param type="ctrShpMap" val="fNode"/>
                              <dgm:param type="stAng" val="270"/>
                              <dgm:param type="spanAng" val="-180"/>
                            </dgm:alg>
                          </dgm:else>
                        </dgm:choose>
                      </dgm:if>
                      <dgm:if name="Name189" axis="ch" ptType="node" func="cnt" op="equ" val="3">
                        <dgm:choose name="Name190">
                          <dgm:if name="Name191" axis="ch ch" ptType="node node" st="2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192" axis="ch ch" ptType="node node" st="2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  <dgm:param type="horzAlign" val="l"/>
                              <dgm:param type="vertAlign" val="b"/>
                            </dgm:alg>
                          </dgm:if>
                          <dgm:else name="Name193">
                            <dgm:alg type="cycle">
                              <dgm:param type="ctrShpMap" val="fNode"/>
                              <dgm:param type="stAng" val="330"/>
                              <dgm:param type="spanAng" val="-180"/>
                            </dgm:alg>
                          </dgm:else>
                        </dgm:choose>
                      </dgm:if>
                      <dgm:if name="Name194" axis="ch" ptType="node" func="cnt" op="equ" val="4">
                        <dgm:choose name="Name195">
                          <dgm:if name="Name196" axis="ch ch" ptType="node node" st="2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97" axis="ch ch" ptType="node node" st="2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98">
                            <dgm:alg type="cycle">
                              <dgm:param type="ctrShpMap" val="fNode"/>
                              <dgm:param type="stAng" val="337.5"/>
                              <dgm:param type="spanAng" val="-135"/>
                            </dgm:alg>
                          </dgm:else>
                        </dgm:choose>
                      </dgm:if>
                      <dgm:if name="Name199" axis="ch" ptType="node" func="cnt" op="equ" val="5">
                        <dgm:choose name="Name200">
                          <dgm:if name="Name201" axis="ch ch" ptType="node node" st="2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202" axis="ch ch" ptType="node node" st="2 1" cnt="1 0" func="cnt" op="equ" val="2">
                            <dgm:alg type="cycle">
                              <dgm:param type="ctrShpMap" val="fNode"/>
                              <dgm:param type="stAng" val="333"/>
                              <dgm:param type="spanAng" val="-90"/>
                            </dgm:alg>
                          </dgm:if>
                          <dgm:else name="Name20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4" axis="ch" ptType="node" func="cnt" op="equ" val="6">
                        <dgm:choose name="Name205">
                          <dgm:if name="Name206" axis="ch ch" ptType="node node" st="2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207" axis="ch ch" ptType="node node" st="2 1" cnt="1 0" func="cnt" op="equ" val="2">
                            <dgm:alg type="cycle">
                              <dgm:param type="ctrShpMap" val="fNode"/>
                              <dgm:param type="stAng" val="345"/>
                              <dgm:param type="spanAng" val="-90"/>
                            </dgm:alg>
                          </dgm:if>
                          <dgm:else name="Name20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9" axis="ch" ptType="node" func="cnt" op="gte" val="7">
                        <dgm:choose name="Name210">
                          <dgm:if name="Name211" axis="ch ch" ptType="node node" st="2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212" axis="ch ch" ptType="node node" st="2 1" cnt="1 0" func="cnt" op="equ" val="2">
                            <dgm:alg type="cycle">
                              <dgm:param type="ctrShpMap" val="fNode"/>
                              <dgm:param type="stAng" val="353"/>
                              <dgm:param type="spanAng" val="-90"/>
                            </dgm:alg>
                          </dgm:if>
                          <dgm:else name="Name21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14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15" axis="ch" ptType="node" st="2" cnt="1">
                  <dgm:layoutNode name="childCenter2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16" axis="ch">
                    <dgm:forEach name="Name217" axis="self" ptType="parTrans">
                      <dgm:layoutNode name="Name218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19" axis="self" ptType="node">
                      <dgm:layoutNode name="text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20" axis="ch" ptType="parTrans" st="2" cnt="1">
                <dgm:layoutNode name="Name221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22"/>
          </dgm:choose>
          <dgm:choose name="Name223">
            <dgm:if name="Name224" axis="ch" ptType="node" func="cnt" op="gte" val="3">
              <dgm:layoutNode name="cycle_3">
                <dgm:choose name="Name225">
                  <dgm:if name="Name226" func="var" arg="dir" op="equ" val="norm">
                    <dgm:choose name="Name227">
                      <dgm:if name="Name228" axis="ch" ptType="node" func="cnt" op="equ" val="3">
                        <dgm:choose name="Name229">
                          <dgm:if name="Name230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231" axis="ch ch" ptType="node node" st="3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  <dgm:param type="horzAlign" val="l"/>
                              <dgm:param type="vertAlign" val="b"/>
                            </dgm:alg>
                          </dgm:if>
                          <dgm:else name="Name232">
                            <dgm:alg type="cycle">
                              <dgm:param type="ctrShpMap" val="fNode"/>
                              <dgm:param type="stAng" val="150"/>
                              <dgm:param type="spanAng" val="180"/>
                            </dgm:alg>
                          </dgm:else>
                        </dgm:choose>
                      </dgm:if>
                      <dgm:if name="Name233" axis="ch" ptType="node" func="cnt" op="equ" val="4">
                        <dgm:choose name="Name234">
                          <dgm:if name="Name235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36" axis="ch ch" ptType="node node" st="3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237">
                            <dgm:alg type="cycle">
                              <dgm:param type="ctrShpMap" val="fNode"/>
                              <dgm:param type="stAng" val="112.5"/>
                              <dgm:param type="spanAng" val="135"/>
                            </dgm:alg>
                          </dgm:else>
                        </dgm:choose>
                      </dgm:if>
                      <dgm:if name="Name238" axis="ch" ptType="node" func="cnt" op="equ" val="5">
                        <dgm:choose name="Name239">
                          <dgm:if name="Name240" axis="ch ch" ptType="node node" st="3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241" axis="ch ch" ptType="node node" st="3 1" cnt="1 0" func="cnt" op="equ" val="2">
                            <dgm:alg type="cycle">
                              <dgm:param type="ctrShpMap" val="fNode"/>
                              <dgm:param type="stAng" val="99"/>
                              <dgm:param type="spanAng" val="90"/>
                            </dgm:alg>
                          </dgm:if>
                          <dgm:else name="Name24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3" axis="ch" ptType="node" func="cnt" op="equ" val="6">
                        <dgm:choose name="Name244">
                          <dgm:if name="Name245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246" axis="ch ch" ptType="node node" st="3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</dgm:alg>
                          </dgm:if>
                          <dgm:else name="Name247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8" axis="ch" ptType="node" func="cnt" op="gte" val="7">
                        <dgm:choose name="Name249">
                          <dgm:if name="Name250" axis="ch ch" ptType="node node" st="3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251" axis="ch ch" ptType="node node" st="3 1" cnt="1 0" func="cnt" op="equ" val="2">
                            <dgm:alg type="cycle">
                              <dgm:param type="ctrShpMap" val="fNode"/>
                              <dgm:param type="stAng" val="57"/>
                              <dgm:param type="spanAng" val="90"/>
                            </dgm:alg>
                          </dgm:if>
                          <dgm:else name="Name25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253"/>
                    </dgm:choose>
                  </dgm:if>
                  <dgm:else name="Name254">
                    <dgm:choose name="Name255">
                      <dgm:if name="Name256" axis="ch" ptType="node" func="cnt" op="equ" val="3">
                        <dgm:choose name="Name257">
                          <dgm:if name="Name258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259" axis="ch ch" ptType="node node" st="3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  <dgm:param type="horzAlign" val="r"/>
                              <dgm:param type="vertAlign" val="b"/>
                            </dgm:alg>
                          </dgm:if>
                          <dgm:else name="Name260">
                            <dgm:alg type="cycle">
                              <dgm:param type="ctrShpMap" val="fNode"/>
                              <dgm:param type="stAng" val="210"/>
                              <dgm:param type="spanAng" val="-180"/>
                            </dgm:alg>
                          </dgm:else>
                        </dgm:choose>
                      </dgm:if>
                      <dgm:if name="Name261" axis="ch" ptType="node" func="cnt" op="equ" val="4">
                        <dgm:choose name="Name262">
                          <dgm:if name="Name263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64" axis="ch ch" ptType="node node" st="3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265">
                            <dgm:alg type="cycle">
                              <dgm:param type="ctrShpMap" val="fNode"/>
                              <dgm:param type="stAng" val="247.5"/>
                              <dgm:param type="spanAng" val="-135"/>
                            </dgm:alg>
                          </dgm:else>
                        </dgm:choose>
                      </dgm:if>
                      <dgm:if name="Name266" axis="ch" ptType="node" func="cnt" op="equ" val="5">
                        <dgm:choose name="Name267">
                          <dgm:if name="Name268" axis="ch ch" ptType="node node" st="3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269" axis="ch ch" ptType="node node" st="3 1" cnt="1 0" func="cnt" op="equ" val="2">
                            <dgm:alg type="cycle">
                              <dgm:param type="ctrShpMap" val="fNode"/>
                              <dgm:param type="stAng" val="261"/>
                              <dgm:param type="spanAng" val="-90"/>
                            </dgm:alg>
                          </dgm:if>
                          <dgm:else name="Name27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1" axis="ch" ptType="node" func="cnt" op="equ" val="6">
                        <dgm:choose name="Name272">
                          <dgm:if name="Name273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274" axis="ch ch" ptType="node node" st="3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</dgm:alg>
                          </dgm:if>
                          <dgm:else name="Name275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6" axis="ch" ptType="node" func="cnt" op="gte" val="7">
                        <dgm:choose name="Name277">
                          <dgm:if name="Name278" axis="ch ch" ptType="node node" st="3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279" axis="ch ch" ptType="node node" st="3 1" cnt="1 0" func="cnt" op="equ" val="2">
                            <dgm:alg type="cycle">
                              <dgm:param type="ctrShpMap" val="fNode"/>
                              <dgm:param type="stAng" val="302"/>
                              <dgm:param type="spanAng" val="-90"/>
                            </dgm:alg>
                          </dgm:if>
                          <dgm:else name="Name28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81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82" axis="ch" ptType="node" st="3" cnt="1">
                  <dgm:layoutNode name="childCenter3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83" axis="ch">
                    <dgm:forEach name="Name284" axis="self" ptType="parTrans">
                      <dgm:layoutNode name="Name285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86" axis="self" ptType="node">
                      <dgm:layoutNode name="text3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87" axis="ch" ptType="parTrans" st="3" cnt="1">
                <dgm:layoutNode name="Name288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3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89"/>
          </dgm:choose>
          <dgm:choose name="Name290">
            <dgm:if name="Name291" axis="ch" ptType="node" func="cnt" op="gte" val="4">
              <dgm:layoutNode name="cycle_4">
                <dgm:choose name="Name292">
                  <dgm:if name="Name293" func="var" arg="dir" op="equ" val="norm">
                    <dgm:choose name="Name294">
                      <dgm:if name="Name295" axis="ch" ptType="node" func="cnt" op="equ" val="4">
                        <dgm:choose name="Name296">
                          <dgm:if name="Name297" axis="ch ch" ptType="node node" st="4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298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90"/>
                            </dgm:alg>
                          </dgm:if>
                          <dgm:else name="Name299">
                            <dgm:alg type="cycle">
                              <dgm:param type="ctrShpMap" val="fNode"/>
                              <dgm:param type="stAng" val="202.5"/>
                              <dgm:param type="spanAng" val="135"/>
                            </dgm:alg>
                          </dgm:else>
                        </dgm:choose>
                      </dgm:if>
                      <dgm:if name="Name300" axis="ch" ptType="node" func="cnt" op="equ" val="5">
                        <dgm:choose name="Name301">
                          <dgm:if name="Name302" axis="ch ch" ptType="node node" st="4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303" axis="ch ch" ptType="node node" st="4 1" cnt="1 0" func="cnt" op="equ" val="2">
                            <dgm:alg type="cycle">
                              <dgm:param type="ctrShpMap" val="fNode"/>
                              <dgm:param type="stAng" val="171"/>
                              <dgm:param type="spanAng" val="90"/>
                            </dgm:alg>
                          </dgm:if>
                          <dgm:else name="Name30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05" axis="ch" ptType="node" func="cnt" op="equ" val="6">
                        <dgm:choose name="Name306">
                          <dgm:if name="Name307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08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309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10" axis="ch" ptType="node" func="cnt" op="gte" val="7">
                        <dgm:choose name="Name311">
                          <dgm:if name="Name312" axis="ch ch" ptType="node node" st="4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13" axis="ch ch" ptType="node node" st="4 1" cnt="1 0" func="cnt" op="equ" val="2">
                            <dgm:alg type="cycle">
                              <dgm:param type="ctrShpMap" val="fNode"/>
                              <dgm:param type="stAng" val="109"/>
                              <dgm:param type="spanAng" val="90"/>
                            </dgm:alg>
                          </dgm:if>
                          <dgm:else name="Name31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15"/>
                    </dgm:choose>
                  </dgm:if>
                  <dgm:else name="Name316">
                    <dgm:choose name="Name317">
                      <dgm:if name="Name318" axis="ch" ptType="node" func="cnt" op="equ" val="4">
                        <dgm:choose name="Name319">
                          <dgm:if name="Name320" axis="ch ch" ptType="node node" st="4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321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-90"/>
                            </dgm:alg>
                          </dgm:if>
                          <dgm:else name="Name322">
                            <dgm:alg type="cycle">
                              <dgm:param type="ctrShpMap" val="fNode"/>
                              <dgm:param type="stAng" val="157.5"/>
                              <dgm:param type="spanAng" val="-135"/>
                            </dgm:alg>
                          </dgm:else>
                        </dgm:choose>
                      </dgm:if>
                      <dgm:if name="Name323" axis="ch" ptType="node" func="cnt" op="equ" val="5">
                        <dgm:choose name="Name324">
                          <dgm:if name="Name325" axis="ch ch" ptType="node node" st="4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326" axis="ch ch" ptType="node node" st="4 1" cnt="1 0" func="cnt" op="equ" val="2">
                            <dgm:alg type="cycle">
                              <dgm:param type="ctrShpMap" val="fNode"/>
                              <dgm:param type="stAng" val="189"/>
                              <dgm:param type="spanAng" val="-90"/>
                            </dgm:alg>
                          </dgm:if>
                          <dgm:else name="Name32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28" axis="ch" ptType="node" func="cnt" op="equ" val="6">
                        <dgm:choose name="Name329">
                          <dgm:if name="Name330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31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332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33" axis="ch" ptType="node" func="cnt" op="gte" val="7">
                        <dgm:choose name="Name334">
                          <dgm:if name="Name335" axis="ch ch" ptType="node node" st="4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36" axis="ch ch" ptType="node node" st="4 1" cnt="1 0" func="cnt" op="equ" val="2">
                            <dgm:alg type="cycle">
                              <dgm:param type="ctrShpMap" val="fNode"/>
                              <dgm:param type="stAng" val="250"/>
                              <dgm:param type="spanAng" val="-90"/>
                            </dgm:alg>
                          </dgm:if>
                          <dgm:else name="Name33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38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39" axis="ch" ptType="node" st="4" cnt="1">
                  <dgm:layoutNode name="childCenter4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40" axis="ch">
                    <dgm:forEach name="Name341" axis="self" ptType="parTrans">
                      <dgm:layoutNode name="Name342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43" axis="self" ptType="node">
                      <dgm:layoutNode name="text4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44" axis="ch" ptType="parTrans" st="4" cnt="1">
                <dgm:layoutNode name="Name345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4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46"/>
          </dgm:choose>
          <dgm:choose name="Name347">
            <dgm:if name="Name348" axis="ch" ptType="node" func="cnt" op="gte" val="5">
              <dgm:layoutNode name="cycle_5">
                <dgm:choose name="Name349">
                  <dgm:if name="Name350" func="var" arg="dir" op="equ" val="norm">
                    <dgm:choose name="Name351">
                      <dgm:if name="Name352" axis="ch" ptType="node" func="cnt" op="equ" val="5">
                        <dgm:choose name="Name353">
                          <dgm:if name="Name354" axis="ch ch" ptType="node node" st="5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355" axis="ch ch" ptType="node node" st="5 1" cnt="1 0" func="cnt" op="equ" val="2">
                            <dgm:alg type="cycle">
                              <dgm:param type="ctrShpMap" val="fNode"/>
                              <dgm:param type="stAng" val="243"/>
                              <dgm:param type="spanAng" val="90"/>
                            </dgm:alg>
                          </dgm:if>
                          <dgm:else name="Name35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57" axis="ch" ptType="node" func="cnt" op="equ" val="6">
                        <dgm:choose name="Name358">
                          <dgm:if name="Name359" axis="ch ch" ptType="node node" st="5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360" axis="ch ch" ptType="node node" st="5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</dgm:alg>
                          </dgm:if>
                          <dgm:else name="Name361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62" axis="ch" ptType="node" func="cnt" op="gte" val="7">
                        <dgm:choose name="Name363">
                          <dgm:if name="Name364" axis="ch ch" ptType="node node" st="5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65" axis="ch ch" ptType="node node" st="5 1" cnt="1 0" func="cnt" op="equ" val="2">
                            <dgm:alg type="cycle">
                              <dgm:param type="ctrShpMap" val="fNode"/>
                              <dgm:param type="stAng" val="160"/>
                              <dgm:param type="spanAng" val="90"/>
                            </dgm:alg>
                          </dgm:if>
                          <dgm:else name="Name36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67"/>
                    </dgm:choose>
                  </dgm:if>
                  <dgm:else name="Name368">
                    <dgm:choose name="Name369">
                      <dgm:if name="Name370" axis="ch" ptType="node" func="cnt" op="equ" val="5">
                        <dgm:choose name="Name371">
                          <dgm:if name="Name372" axis="ch ch" ptType="node node" st="5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373" axis="ch ch" ptType="node node" st="5 1" cnt="1 0" func="cnt" op="equ" val="2">
                            <dgm:alg type="cycle">
                              <dgm:param type="ctrShpMap" val="fNode"/>
                              <dgm:param type="stAng" val="117"/>
                              <dgm:param type="spanAng" val="-90"/>
                            </dgm:alg>
                          </dgm:if>
                          <dgm:else name="Name37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75" axis="ch" ptType="node" func="cnt" op="equ" val="6">
                        <dgm:choose name="Name376">
                          <dgm:if name="Name377" axis="ch ch" ptType="node node" st="5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378" axis="ch ch" ptType="node node" st="5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</dgm:alg>
                          </dgm:if>
                          <dgm:else name="Name379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80" axis="ch" ptType="node" func="cnt" op="gte" val="7">
                        <dgm:choose name="Name381">
                          <dgm:if name="Name382" axis="ch ch" ptType="node node" st="5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83" axis="ch ch" ptType="node node" st="5 1" cnt="1 0" func="cnt" op="equ" val="2">
                            <dgm:alg type="cycle">
                              <dgm:param type="ctrShpMap" val="fNode"/>
                              <dgm:param type="stAng" val="199"/>
                              <dgm:param type="spanAng" val="-90"/>
                            </dgm:alg>
                          </dgm:if>
                          <dgm:else name="Name38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85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86" axis="ch" ptType="node" st="5" cnt="1">
                  <dgm:layoutNode name="childCenter5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87" axis="ch">
                    <dgm:forEach name="Name388" axis="self" ptType="parTrans">
                      <dgm:layoutNode name="Name389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90" axis="self" ptType="node">
                      <dgm:layoutNode name="text5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91" axis="ch" ptType="parTrans" st="5" cnt="1">
                <dgm:layoutNode name="Name392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5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93"/>
          </dgm:choose>
          <dgm:choose name="Name394">
            <dgm:if name="Name395" axis="ch" ptType="node" func="cnt" op="gte" val="6">
              <dgm:layoutNode name="cycle_6">
                <dgm:choose name="Name396">
                  <dgm:if name="Name397" func="var" arg="dir" op="equ" val="norm">
                    <dgm:choose name="Name398">
                      <dgm:if name="Name399" axis="ch" ptType="node" func="cnt" op="equ" val="6">
                        <dgm:choose name="Name400">
                          <dgm:if name="Name401" axis="ch ch" ptType="node node" st="6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402" axis="ch ch" ptType="node node" st="6 1" cnt="1 0" func="cnt" op="equ" val="2">
                            <dgm:alg type="cycle">
                              <dgm:param type="ctrShpMap" val="fNode"/>
                              <dgm:param type="stAng" val="255"/>
                              <dgm:param type="spanAng" val="90"/>
                            </dgm:alg>
                          </dgm:if>
                          <dgm:else name="Name40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404" axis="ch" ptType="node" func="cnt" op="gte" val="7">
                        <dgm:choose name="Name405">
                          <dgm:if name="Name406" axis="ch ch" ptType="node node" st="6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407" axis="ch ch" ptType="node node" st="6 1" cnt="1 0" func="cnt" op="equ" val="2">
                            <dgm:alg type="cycle">
                              <dgm:param type="ctrShpMap" val="fNode"/>
                              <dgm:param type="stAng" val="212"/>
                              <dgm:param type="spanAng" val="90"/>
                            </dgm:alg>
                          </dgm:if>
                          <dgm:else name="Name40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09"/>
                    </dgm:choose>
                  </dgm:if>
                  <dgm:else name="Name410">
                    <dgm:choose name="Name411">
                      <dgm:if name="Name412" axis="ch" ptType="node" func="cnt" op="equ" val="6">
                        <dgm:choose name="Name413">
                          <dgm:if name="Name414" axis="ch ch" ptType="node node" st="6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415" axis="ch ch" ptType="node node" st="6 1" cnt="1 0" func="cnt" op="equ" val="2">
                            <dgm:alg type="cycle">
                              <dgm:param type="ctrShpMap" val="fNode"/>
                              <dgm:param type="stAng" val="105"/>
                              <dgm:param type="spanAng" val="-90"/>
                            </dgm:alg>
                          </dgm:if>
                          <dgm:else name="Name41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417" axis="ch" ptType="node" func="cnt" op="gte" val="7">
                        <dgm:choose name="Name418">
                          <dgm:if name="Name419" axis="ch ch" ptType="node node" st="6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420" axis="ch ch" ptType="node node" st="6 1" cnt="1 0" func="cnt" op="equ" val="2">
                            <dgm:alg type="cycle">
                              <dgm:param type="ctrShpMap" val="fNode"/>
                              <dgm:param type="stAng" val="147"/>
                              <dgm:param type="spanAng" val="-90"/>
                            </dgm:alg>
                          </dgm:if>
                          <dgm:else name="Name42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22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23" axis="ch" ptType="node" st="6" cnt="1">
                  <dgm:layoutNode name="childCenter6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24" axis="ch">
                    <dgm:forEach name="Name425" axis="self" ptType="parTrans">
                      <dgm:layoutNode name="Name426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27" axis="self" ptType="node">
                      <dgm:layoutNode name="text6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28" axis="ch" ptType="parTrans" st="6" cnt="1">
                <dgm:layoutNode name="Name429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6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30"/>
          </dgm:choose>
          <dgm:choose name="Name431">
            <dgm:if name="Name432" axis="ch" ptType="node" func="cnt" op="gte" val="7">
              <dgm:layoutNode name="cycle_7">
                <dgm:choose name="Name433">
                  <dgm:if name="Name434" func="var" arg="dir" op="equ" val="norm">
                    <dgm:choose name="Name435">
                      <dgm:if name="Name436" axis="ch" ptType="node" func="cnt" op="gte" val="7">
                        <dgm:choose name="Name437">
                          <dgm:if name="Name438" axis="ch ch" ptType="node node" st="7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439" axis="ch ch" ptType="node node" st="7 1" cnt="1 0" func="cnt" op="equ" val="2">
                            <dgm:alg type="cycle">
                              <dgm:param type="ctrShpMap" val="fNode"/>
                              <dgm:param type="stAng" val="263"/>
                              <dgm:param type="spanAng" val="90"/>
                            </dgm:alg>
                          </dgm:if>
                          <dgm:else name="Name44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41"/>
                    </dgm:choose>
                  </dgm:if>
                  <dgm:else name="Name442">
                    <dgm:choose name="Name443">
                      <dgm:if name="Name444" axis="ch" ptType="node" func="cnt" op="gte" val="7">
                        <dgm:choose name="Name445">
                          <dgm:if name="Name446" axis="ch ch" ptType="node node" st="7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447" axis="ch ch" ptType="node node" st="7 1" cnt="1 0" func="cnt" op="equ" val="2">
                            <dgm:alg type="cycle">
                              <dgm:param type="ctrShpMap" val="fNode"/>
                              <dgm:param type="stAng" val="96"/>
                              <dgm:param type="spanAng" val="-90"/>
                            </dgm:alg>
                          </dgm:if>
                          <dgm:else name="Name44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49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50" axis="ch" ptType="node" st="7" cnt="1">
                  <dgm:layoutNode name="childCenter7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51" axis="ch">
                    <dgm:forEach name="Name452" axis="self" ptType="parTrans">
                      <dgm:layoutNode name="Name453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54" axis="self" ptType="node">
                      <dgm:layoutNode name="text7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55" axis="ch" ptType="parTrans" st="7" cnt="1">
                <dgm:layoutNode name="Name456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7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5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RadialCluster">
  <dgm:title val=""/>
  <dgm:desc val=""/>
  <dgm:catLst>
    <dgm:cat type="relationship" pri="19500"/>
    <dgm:cat type="cycle" pri="1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alg type="composite">
      <dgm:param type="ar" val="1.00"/>
    </dgm:alg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cnt="1 0" func="cnt" op="equ" val="1">
            <dgm:constrLst>
              <dgm:constr type="l" for="ch" forName="textCenter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r" for="ch" forName="cycle_1" refType="w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5" axis="ch ch" ptType="node node" cnt="1 0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6" axis="ch ch" ptType="node node" cnt="1 0" func="cnt" op="equ" val="3">
            <dgm:choose name="Name7">
              <dgm:if name="Name8" axis="ch ch ch" ptType="node node node" st="1 2 0" cnt="1 1 0" func="cnt" op="equ" val="1">
                <dgm:choose name="Name9">
                  <dgm:if name="Name10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12">
                <dgm:choose name="Name13">
                  <dgm:if name="Name14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5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16" axis="ch ch" ptType="node node" cnt="1 0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r" for="ch" forName="cycle_2" refType="w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l" for="ch" forName="cycle_4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17" axis="ch ch" ptType="node node" cnt="1 0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r" for="ch" forName="cycle_3" refType="w" fact="0.89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l" for="ch" forName="cycle_4" refType="w" fact="0.11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18" axis="ch ch" ptType="node node" cnt="1 0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r" for="ch" forName="cycle_3" refType="w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l" for="ch" forName="cycle_6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19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r" for="ch" forName="cycle_2" refType="w" fact="0.938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r" for="ch" forName="cycle_3" refType="w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r" for="ch" forName="cycle_4" refType="w" fact="0.8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l" for="ch" forName="cycle_5" refType="w" fact="0.2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l" for="ch" forName="cycle_6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l" for="ch" forName="cycle_7" refType="w" fact="0.062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if>
      <dgm:else name="Name20">
        <dgm:choose name="Name21">
          <dgm:if name="Name22" axis="ch ch" ptType="node node" func="cnt" op="equ" val="1">
            <dgm:constrLst>
              <dgm:constr type="r" for="ch" forName="textCenter" refType="w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l" for="ch" forName="cycle_1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23" axis="ch ch" ptType="node node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24" axis="ch ch" ptType="node node" func="cnt" op="equ" val="3">
            <dgm:choose name="Name25">
              <dgm:if name="Name26" axis="ch ch ch" ptType="node node node" st="1 2 0" cnt="1 1 0" func="cnt" op="equ" val="1">
                <dgm:choose name="Name27">
                  <dgm:if name="Name28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29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30">
                <dgm:choose name="Name31">
                  <dgm:if name="Name32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33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34" axis="ch ch" ptType="node node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l" for="ch" forName="cycle_2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r" for="ch" forName="cycle_4" refType="w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35" axis="ch ch" ptType="node node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l" for="ch" forName="cycle_3" refType="w" fact="0.11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r" for="ch" forName="cycle_4" refType="w" fact="0.89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36" axis="ch ch" ptType="node node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l" for="ch" forName="cycle_3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r" for="ch" forName="cycle_6" refType="w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37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l" for="ch" forName="cycle_2" refType="w" fact="0.062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l" for="ch" forName="cycle_3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l" for="ch" forName="cycle_4" refType="w" fact="0.2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r" for="ch" forName="cycle_5" refType="w" fact="0.8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r" for="ch" forName="cycle_6" refType="w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r" for="ch" forName="cycle_7" refType="w" fact="0.938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else>
    </dgm:choose>
    <dgm:forEach name="Name38" axis="ch" ptType="node" cnt="1">
      <dgm:choose name="Name39">
        <dgm:if name="Name40" axis="des" func="maxDepth" op="lte" val="1">
          <dgm:layoutNode name="singleCycle">
            <dgm:choose name="Name41">
              <dgm:if name="Name42" axis="ch" ptType="node" func="cnt" op="equ" val="1">
                <dgm:choose name="Name43">
                  <dgm:if name="Name44" func="var" arg="dir" op="equ" val="norm">
                    <dgm:alg type="cycle">
                      <dgm:param type="stAng" val="90"/>
                      <dgm:param type="ctrShpMap" val="fNode"/>
                    </dgm:alg>
                  </dgm:if>
                  <dgm:else name="Name45">
                    <dgm:alg type="cycle">
                      <dgm:param type="stAng" val="-90"/>
                      <dgm:param type="spanAng" val="-360"/>
                      <dgm:param type="ctrShpMap" val="fNode"/>
                    </dgm:alg>
                  </dgm:else>
                </dgm:choose>
              </dgm:if>
              <dgm:else name="Name46">
                <dgm:choose name="Name47">
                  <dgm:if name="Name48" func="var" arg="dir" op="equ" val="norm">
                    <dgm:alg type="cycle">
                      <dgm:param type="ctrShpMap" val="fNode"/>
                    </dgm:alg>
                  </dgm:if>
                  <dgm:else name="Name49">
                    <dgm:alg type="cycle">
                      <dgm:param type="spanAng" val="-360"/>
                      <dgm:param type="ctrShpMap" val="fNode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hoose name="Name50">
              <dgm:if name="Name51" axis="ch" ptType="node" func="cnt" op="equ" val="0">
                <dgm:constrLst>
                  <dgm:constr type="w" for="ch" forName="singleCenter" refType="w"/>
                  <dgm:constr type="h" for="ch" forName="singleCenter" refType="w" refFor="ch" refForName="singleCenter"/>
                </dgm:constrLst>
              </dgm:if>
              <dgm:if name="Name52" axis="ch" ptType="node" func="cnt" op="equ" val="1">
                <dgm:constrLst>
                  <dgm:constr type="w" for="ch" forName="singleCenter" refType="w" fact="0.5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if>
              <dgm:else name="Name53">
                <dgm:constrLst>
                  <dgm:constr type="w" for="ch" forName="singleCenter" refType="w" fact="0.3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else>
            </dgm:choose>
            <dgm:layoutNode name="singleCenter" styleLbl="node1">
              <dgm:varLst>
                <dgm:chMax val="7"/>
                <dgm:chPref val="7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self" ptType="node"/>
              <dgm:constrLst>
                <dgm:constr type="tMarg" refType="primFontSz" fact="0.2"/>
                <dgm:constr type="bMarg" refType="primFontSz" fact="0.2"/>
                <dgm:constr type="lMarg" refType="primFontSz" fact="0.2"/>
                <dgm:constr type="rMarg" refType="primFontSz" fact="0.2"/>
              </dgm:constrLst>
              <dgm:ruleLst>
                <dgm:rule type="primFontSz" val="5" fact="NaN" max="NaN"/>
              </dgm:ruleLst>
            </dgm:layoutNode>
            <dgm:forEach name="Name54" axis="ch" cnt="21">
              <dgm:forEach name="Name55" axis="self" ptType="parTrans">
                <dgm:layoutNode name="Name56">
                  <dgm:alg type="conn">
                    <dgm:param type="dim" val="1D"/>
                    <dgm:param type="begPts" val="auto"/>
                    <dgm:param type="endPts" val="auto"/>
                    <dgm:param type="begSty" val="noArr"/>
                    <dgm:param type="endSty" val="noArr"/>
                  </dgm:alg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forEach name="Name57" axis="self" ptType="node">
                <dgm:layoutNode name="text0" styleLbl="node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/>
                  </dgm:shape>
                  <dgm:presOf axis="desOrSelf" ptType="node"/>
                  <dgm:constrLst>
                    <dgm:constr type="userS"/>
                    <dgm:constr type="w" refType="userS"/>
                    <dgm:constr type="h" refType="w"/>
                    <dgm:constr type="tMarg" refType="primFontSz" fact="0.2"/>
                    <dgm:constr type="bMarg" refType="primFontSz" fact="0.2"/>
                    <dgm:constr type="lMarg" refType="primFontSz" fact="0.2"/>
                    <dgm:constr type="rMarg" refType="primFontSz" fact="0.2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if>
        <dgm:else name="Name58">
          <dgm:layoutNode name="textCenter" styleLbl="node1">
            <dgm:alg type="tx"/>
            <dgm:shape xmlns:r="http://schemas.openxmlformats.org/officeDocument/2006/relationships" type="roundRect" r:blip="">
              <dgm:adjLst/>
            </dgm:shape>
            <dgm:presOf axis="self" ptType="node"/>
            <dgm:constrLst>
              <dgm:constr type="tMarg" refType="primFontSz" fact="0.2"/>
              <dgm:constr type="bMarg" refType="primFontSz" fact="0.2"/>
              <dgm:constr type="lMarg" refType="primFontSz" fact="0.2"/>
              <dgm:constr type="rMarg" refType="primFontSz" fact="0.2"/>
            </dgm:constrLst>
            <dgm:ruleLst>
              <dgm:rule type="primFontSz" val="5" fact="NaN" max="NaN"/>
            </dgm:ruleLst>
          </dgm:layoutNode>
          <dgm:choose name="Name59">
            <dgm:if name="Name60" axis="ch" ptType="node" func="cnt" op="gte" val="1">
              <dgm:layoutNode name="cycle_1">
                <dgm:choose name="Name61">
                  <dgm:if name="Name62" func="var" arg="dir" op="equ" val="norm">
                    <dgm:choose name="Name63">
                      <dgm:if name="Name64" axis="ch" ptType="node" func="cnt" op="equ" val="1">
                        <dgm:choose name="Name65">
                          <dgm:if name="Name66" axis="ch ch" ptType="node node" st="1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67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68">
                            <dgm:alg type="cycle">
                              <dgm:param type="ctrShpMap" val="fNode"/>
                              <dgm:param type="stAng" val="0"/>
                              <dgm:param type="spanAng" val="180"/>
                            </dgm:alg>
                          </dgm:else>
                        </dgm:choose>
                      </dgm:if>
                      <dgm:if name="Name69" axis="ch" ptType="node" func="cnt" op="equ" val="2">
                        <dgm:choose name="Name70">
                          <dgm:if name="Name7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3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4" axis="ch" ptType="node" func="cnt" op="equ" val="3">
                        <dgm:choose name="Name75">
                          <dgm:if name="Name7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8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9" axis="ch" ptType="node" func="cnt" op="equ" val="4">
                        <dgm:choose name="Name80">
                          <dgm:if name="Name8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3">
                            <dgm:alg type="cycle">
                              <dgm:param type="ctrShpMap" val="fNode"/>
                              <dgm:param type="stAng" val="292.5"/>
                              <dgm:param type="spanAng" val="135"/>
                            </dgm:alg>
                          </dgm:else>
                        </dgm:choose>
                      </dgm:if>
                      <dgm:if name="Name84" axis="ch" ptType="node" func="cnt" op="equ" val="5">
                        <dgm:choose name="Name85">
                          <dgm:if name="Name8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89" axis="ch" ptType="node" func="cnt" op="equ" val="6">
                        <dgm:choose name="Name90">
                          <dgm:if name="Name9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94" axis="ch" ptType="node" func="cnt" op="gte" val="7">
                        <dgm:choose name="Name95">
                          <dgm:if name="Name9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99"/>
                    </dgm:choose>
                  </dgm:if>
                  <dgm:else name="Name100">
                    <dgm:choose name="Name101">
                      <dgm:if name="Name102" axis="ch" ptType="node" func="cnt" op="equ" val="1">
                        <dgm:choose name="Name103">
                          <dgm:if name="Name104" axis="ch ch" ptType="node node" st="1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05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06">
                            <dgm:alg type="cycle">
                              <dgm:param type="ctrShpMap" val="fNode"/>
                              <dgm:param type="stAng" val="0"/>
                              <dgm:param type="spanAng" val="-180"/>
                            </dgm:alg>
                          </dgm:else>
                        </dgm:choose>
                      </dgm:if>
                      <dgm:if name="Name107" axis="ch" ptType="node" func="cnt" op="equ" val="2">
                        <dgm:choose name="Name108">
                          <dgm:if name="Name10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1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2" axis="ch" ptType="node" func="cnt" op="equ" val="3">
                        <dgm:choose name="Name113">
                          <dgm:if name="Name11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6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7" axis="ch" ptType="node" func="cnt" op="equ" val="4">
                        <dgm:choose name="Name118">
                          <dgm:if name="Name11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1">
                            <dgm:alg type="cycle">
                              <dgm:param type="ctrShpMap" val="fNode"/>
                              <dgm:param type="stAng" val="67.5"/>
                              <dgm:param type="spanAng" val="-135"/>
                            </dgm:alg>
                          </dgm:else>
                        </dgm:choose>
                      </dgm:if>
                      <dgm:if name="Name122" axis="ch" ptType="node" func="cnt" op="equ" val="5">
                        <dgm:choose name="Name123">
                          <dgm:if name="Name12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27" axis="ch" ptType="node" func="cnt" op="equ" val="6">
                        <dgm:choose name="Name128">
                          <dgm:if name="Name12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32" axis="ch" ptType="node" func="cnt" op="gte" val="7">
                        <dgm:choose name="Name133">
                          <dgm:if name="Name13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137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138" axis="ch" ptType="node" cnt="1">
                  <dgm:layoutNode name="childCenter1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139" axis="ch">
                    <dgm:forEach name="Name140" axis="self" ptType="parTrans">
                      <dgm:layoutNode name="Name141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142" axis="self" ptType="node">
                      <dgm:layoutNode name="text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143" axis="ch" ptType="parTrans" cnt="1">
                <dgm:layoutNode name="Name144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1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145"/>
          </dgm:choose>
          <dgm:choose name="Name146">
            <dgm:if name="Name147" axis="ch" ptType="node" func="cnt" op="gte" val="2">
              <dgm:layoutNode name="cycle_2">
                <dgm:choose name="Name148">
                  <dgm:if name="Name149" func="var" arg="dir" op="equ" val="norm">
                    <dgm:choose name="Name150">
                      <dgm:if name="Name151" axis="ch" ptType="node" func="cnt" op="equ" val="2">
                        <dgm:choose name="Name152">
                          <dgm:if name="Name153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54" axis="ch ch" ptType="node node" st="2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155">
                            <dgm:alg type="cycle">
                              <dgm:param type="ctrShpMap" val="fNode"/>
                              <dgm:param type="stAng" val="90"/>
                              <dgm:param type="spanAng" val="180"/>
                            </dgm:alg>
                          </dgm:else>
                        </dgm:choose>
                      </dgm:if>
                      <dgm:if name="Name156" axis="ch" ptType="node" func="cnt" op="equ" val="3">
                        <dgm:choose name="Name157">
                          <dgm:if name="Name158" axis="ch ch" ptType="node node" st="2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159" axis="ch ch" ptType="node node" st="2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  <dgm:param type="horzAlign" val="r"/>
                              <dgm:param type="vertAlign" val="b"/>
                            </dgm:alg>
                          </dgm:if>
                          <dgm:else name="Name160">
                            <dgm:alg type="cycle">
                              <dgm:param type="ctrShpMap" val="fNode"/>
                              <dgm:param type="stAng" val="30"/>
                              <dgm:param type="spanAng" val="180"/>
                            </dgm:alg>
                          </dgm:else>
                        </dgm:choose>
                      </dgm:if>
                      <dgm:if name="Name161" axis="ch" ptType="node" func="cnt" op="equ" val="4">
                        <dgm:choose name="Name162">
                          <dgm:if name="Name163" axis="ch ch" ptType="node node" st="2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164" axis="ch ch" ptType="node node" st="2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165">
                            <dgm:alg type="cycle">
                              <dgm:param type="ctrShpMap" val="fNode"/>
                              <dgm:param type="stAng" val="22.5"/>
                              <dgm:param type="spanAng" val="135"/>
                            </dgm:alg>
                          </dgm:else>
                        </dgm:choose>
                      </dgm:if>
                      <dgm:if name="Name166" axis="ch" ptType="node" func="cnt" op="equ" val="5">
                        <dgm:choose name="Name167">
                          <dgm:if name="Name168" axis="ch ch" ptType="node node" st="2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169" axis="ch ch" ptType="node node" st="2 1" cnt="1 0" func="cnt" op="equ" val="2">
                            <dgm:alg type="cycle">
                              <dgm:param type="ctrShpMap" val="fNode"/>
                              <dgm:param type="stAng" val="27"/>
                              <dgm:param type="spanAng" val="90"/>
                            </dgm:alg>
                          </dgm:if>
                          <dgm:else name="Name17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1" axis="ch" ptType="node" func="cnt" op="equ" val="6">
                        <dgm:choose name="Name172">
                          <dgm:if name="Name173" axis="ch ch" ptType="node node" st="2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174" axis="ch ch" ptType="node node" st="2 1" cnt="1 0" func="cnt" op="equ" val="2">
                            <dgm:alg type="cycle">
                              <dgm:param type="ctrShpMap" val="fNode"/>
                              <dgm:param type="stAng" val="15"/>
                              <dgm:param type="spanAng" val="90"/>
                            </dgm:alg>
                          </dgm:if>
                          <dgm:else name="Name175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6" axis="ch" ptType="node" func="cnt" op="gte" val="7">
                        <dgm:choose name="Name177">
                          <dgm:if name="Name178" axis="ch ch" ptType="node node" st="2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179" axis="ch ch" ptType="node node" st="2 1" cnt="1 0" func="cnt" op="equ" val="2">
                            <dgm:alg type="cycle">
                              <dgm:param type="ctrShpMap" val="fNode"/>
                              <dgm:param type="stAng" val="6"/>
                              <dgm:param type="spanAng" val="90"/>
                            </dgm:alg>
                          </dgm:if>
                          <dgm:else name="Name18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181"/>
                    </dgm:choose>
                  </dgm:if>
                  <dgm:else name="Name182">
                    <dgm:choose name="Name183">
                      <dgm:if name="Name184" axis="ch" ptType="node" func="cnt" op="equ" val="2">
                        <dgm:choose name="Name185">
                          <dgm:if name="Name186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87" axis="ch ch" ptType="node node" st="2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188">
                            <dgm:alg type="cycle">
                              <dgm:param type="ctrShpMap" val="fNode"/>
                              <dgm:param type="stAng" val="270"/>
                              <dgm:param type="spanAng" val="-180"/>
                            </dgm:alg>
                          </dgm:else>
                        </dgm:choose>
                      </dgm:if>
                      <dgm:if name="Name189" axis="ch" ptType="node" func="cnt" op="equ" val="3">
                        <dgm:choose name="Name190">
                          <dgm:if name="Name191" axis="ch ch" ptType="node node" st="2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192" axis="ch ch" ptType="node node" st="2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  <dgm:param type="horzAlign" val="l"/>
                              <dgm:param type="vertAlign" val="b"/>
                            </dgm:alg>
                          </dgm:if>
                          <dgm:else name="Name193">
                            <dgm:alg type="cycle">
                              <dgm:param type="ctrShpMap" val="fNode"/>
                              <dgm:param type="stAng" val="330"/>
                              <dgm:param type="spanAng" val="-180"/>
                            </dgm:alg>
                          </dgm:else>
                        </dgm:choose>
                      </dgm:if>
                      <dgm:if name="Name194" axis="ch" ptType="node" func="cnt" op="equ" val="4">
                        <dgm:choose name="Name195">
                          <dgm:if name="Name196" axis="ch ch" ptType="node node" st="2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97" axis="ch ch" ptType="node node" st="2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98">
                            <dgm:alg type="cycle">
                              <dgm:param type="ctrShpMap" val="fNode"/>
                              <dgm:param type="stAng" val="337.5"/>
                              <dgm:param type="spanAng" val="-135"/>
                            </dgm:alg>
                          </dgm:else>
                        </dgm:choose>
                      </dgm:if>
                      <dgm:if name="Name199" axis="ch" ptType="node" func="cnt" op="equ" val="5">
                        <dgm:choose name="Name200">
                          <dgm:if name="Name201" axis="ch ch" ptType="node node" st="2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202" axis="ch ch" ptType="node node" st="2 1" cnt="1 0" func="cnt" op="equ" val="2">
                            <dgm:alg type="cycle">
                              <dgm:param type="ctrShpMap" val="fNode"/>
                              <dgm:param type="stAng" val="333"/>
                              <dgm:param type="spanAng" val="-90"/>
                            </dgm:alg>
                          </dgm:if>
                          <dgm:else name="Name20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4" axis="ch" ptType="node" func="cnt" op="equ" val="6">
                        <dgm:choose name="Name205">
                          <dgm:if name="Name206" axis="ch ch" ptType="node node" st="2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207" axis="ch ch" ptType="node node" st="2 1" cnt="1 0" func="cnt" op="equ" val="2">
                            <dgm:alg type="cycle">
                              <dgm:param type="ctrShpMap" val="fNode"/>
                              <dgm:param type="stAng" val="345"/>
                              <dgm:param type="spanAng" val="-90"/>
                            </dgm:alg>
                          </dgm:if>
                          <dgm:else name="Name20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9" axis="ch" ptType="node" func="cnt" op="gte" val="7">
                        <dgm:choose name="Name210">
                          <dgm:if name="Name211" axis="ch ch" ptType="node node" st="2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212" axis="ch ch" ptType="node node" st="2 1" cnt="1 0" func="cnt" op="equ" val="2">
                            <dgm:alg type="cycle">
                              <dgm:param type="ctrShpMap" val="fNode"/>
                              <dgm:param type="stAng" val="353"/>
                              <dgm:param type="spanAng" val="-90"/>
                            </dgm:alg>
                          </dgm:if>
                          <dgm:else name="Name21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14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15" axis="ch" ptType="node" st="2" cnt="1">
                  <dgm:layoutNode name="childCenter2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16" axis="ch">
                    <dgm:forEach name="Name217" axis="self" ptType="parTrans">
                      <dgm:layoutNode name="Name218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19" axis="self" ptType="node">
                      <dgm:layoutNode name="text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20" axis="ch" ptType="parTrans" st="2" cnt="1">
                <dgm:layoutNode name="Name221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22"/>
          </dgm:choose>
          <dgm:choose name="Name223">
            <dgm:if name="Name224" axis="ch" ptType="node" func="cnt" op="gte" val="3">
              <dgm:layoutNode name="cycle_3">
                <dgm:choose name="Name225">
                  <dgm:if name="Name226" func="var" arg="dir" op="equ" val="norm">
                    <dgm:choose name="Name227">
                      <dgm:if name="Name228" axis="ch" ptType="node" func="cnt" op="equ" val="3">
                        <dgm:choose name="Name229">
                          <dgm:if name="Name230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231" axis="ch ch" ptType="node node" st="3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  <dgm:param type="horzAlign" val="l"/>
                              <dgm:param type="vertAlign" val="b"/>
                            </dgm:alg>
                          </dgm:if>
                          <dgm:else name="Name232">
                            <dgm:alg type="cycle">
                              <dgm:param type="ctrShpMap" val="fNode"/>
                              <dgm:param type="stAng" val="150"/>
                              <dgm:param type="spanAng" val="180"/>
                            </dgm:alg>
                          </dgm:else>
                        </dgm:choose>
                      </dgm:if>
                      <dgm:if name="Name233" axis="ch" ptType="node" func="cnt" op="equ" val="4">
                        <dgm:choose name="Name234">
                          <dgm:if name="Name235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36" axis="ch ch" ptType="node node" st="3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237">
                            <dgm:alg type="cycle">
                              <dgm:param type="ctrShpMap" val="fNode"/>
                              <dgm:param type="stAng" val="112.5"/>
                              <dgm:param type="spanAng" val="135"/>
                            </dgm:alg>
                          </dgm:else>
                        </dgm:choose>
                      </dgm:if>
                      <dgm:if name="Name238" axis="ch" ptType="node" func="cnt" op="equ" val="5">
                        <dgm:choose name="Name239">
                          <dgm:if name="Name240" axis="ch ch" ptType="node node" st="3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241" axis="ch ch" ptType="node node" st="3 1" cnt="1 0" func="cnt" op="equ" val="2">
                            <dgm:alg type="cycle">
                              <dgm:param type="ctrShpMap" val="fNode"/>
                              <dgm:param type="stAng" val="99"/>
                              <dgm:param type="spanAng" val="90"/>
                            </dgm:alg>
                          </dgm:if>
                          <dgm:else name="Name24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3" axis="ch" ptType="node" func="cnt" op="equ" val="6">
                        <dgm:choose name="Name244">
                          <dgm:if name="Name245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246" axis="ch ch" ptType="node node" st="3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</dgm:alg>
                          </dgm:if>
                          <dgm:else name="Name247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8" axis="ch" ptType="node" func="cnt" op="gte" val="7">
                        <dgm:choose name="Name249">
                          <dgm:if name="Name250" axis="ch ch" ptType="node node" st="3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251" axis="ch ch" ptType="node node" st="3 1" cnt="1 0" func="cnt" op="equ" val="2">
                            <dgm:alg type="cycle">
                              <dgm:param type="ctrShpMap" val="fNode"/>
                              <dgm:param type="stAng" val="57"/>
                              <dgm:param type="spanAng" val="90"/>
                            </dgm:alg>
                          </dgm:if>
                          <dgm:else name="Name25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253"/>
                    </dgm:choose>
                  </dgm:if>
                  <dgm:else name="Name254">
                    <dgm:choose name="Name255">
                      <dgm:if name="Name256" axis="ch" ptType="node" func="cnt" op="equ" val="3">
                        <dgm:choose name="Name257">
                          <dgm:if name="Name258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259" axis="ch ch" ptType="node node" st="3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  <dgm:param type="horzAlign" val="r"/>
                              <dgm:param type="vertAlign" val="b"/>
                            </dgm:alg>
                          </dgm:if>
                          <dgm:else name="Name260">
                            <dgm:alg type="cycle">
                              <dgm:param type="ctrShpMap" val="fNode"/>
                              <dgm:param type="stAng" val="210"/>
                              <dgm:param type="spanAng" val="-180"/>
                            </dgm:alg>
                          </dgm:else>
                        </dgm:choose>
                      </dgm:if>
                      <dgm:if name="Name261" axis="ch" ptType="node" func="cnt" op="equ" val="4">
                        <dgm:choose name="Name262">
                          <dgm:if name="Name263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64" axis="ch ch" ptType="node node" st="3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265">
                            <dgm:alg type="cycle">
                              <dgm:param type="ctrShpMap" val="fNode"/>
                              <dgm:param type="stAng" val="247.5"/>
                              <dgm:param type="spanAng" val="-135"/>
                            </dgm:alg>
                          </dgm:else>
                        </dgm:choose>
                      </dgm:if>
                      <dgm:if name="Name266" axis="ch" ptType="node" func="cnt" op="equ" val="5">
                        <dgm:choose name="Name267">
                          <dgm:if name="Name268" axis="ch ch" ptType="node node" st="3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269" axis="ch ch" ptType="node node" st="3 1" cnt="1 0" func="cnt" op="equ" val="2">
                            <dgm:alg type="cycle">
                              <dgm:param type="ctrShpMap" val="fNode"/>
                              <dgm:param type="stAng" val="261"/>
                              <dgm:param type="spanAng" val="-90"/>
                            </dgm:alg>
                          </dgm:if>
                          <dgm:else name="Name27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1" axis="ch" ptType="node" func="cnt" op="equ" val="6">
                        <dgm:choose name="Name272">
                          <dgm:if name="Name273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274" axis="ch ch" ptType="node node" st="3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</dgm:alg>
                          </dgm:if>
                          <dgm:else name="Name275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6" axis="ch" ptType="node" func="cnt" op="gte" val="7">
                        <dgm:choose name="Name277">
                          <dgm:if name="Name278" axis="ch ch" ptType="node node" st="3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279" axis="ch ch" ptType="node node" st="3 1" cnt="1 0" func="cnt" op="equ" val="2">
                            <dgm:alg type="cycle">
                              <dgm:param type="ctrShpMap" val="fNode"/>
                              <dgm:param type="stAng" val="302"/>
                              <dgm:param type="spanAng" val="-90"/>
                            </dgm:alg>
                          </dgm:if>
                          <dgm:else name="Name28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81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82" axis="ch" ptType="node" st="3" cnt="1">
                  <dgm:layoutNode name="childCenter3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83" axis="ch">
                    <dgm:forEach name="Name284" axis="self" ptType="parTrans">
                      <dgm:layoutNode name="Name285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86" axis="self" ptType="node">
                      <dgm:layoutNode name="text3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87" axis="ch" ptType="parTrans" st="3" cnt="1">
                <dgm:layoutNode name="Name288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3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89"/>
          </dgm:choose>
          <dgm:choose name="Name290">
            <dgm:if name="Name291" axis="ch" ptType="node" func="cnt" op="gte" val="4">
              <dgm:layoutNode name="cycle_4">
                <dgm:choose name="Name292">
                  <dgm:if name="Name293" func="var" arg="dir" op="equ" val="norm">
                    <dgm:choose name="Name294">
                      <dgm:if name="Name295" axis="ch" ptType="node" func="cnt" op="equ" val="4">
                        <dgm:choose name="Name296">
                          <dgm:if name="Name297" axis="ch ch" ptType="node node" st="4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298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90"/>
                            </dgm:alg>
                          </dgm:if>
                          <dgm:else name="Name299">
                            <dgm:alg type="cycle">
                              <dgm:param type="ctrShpMap" val="fNode"/>
                              <dgm:param type="stAng" val="202.5"/>
                              <dgm:param type="spanAng" val="135"/>
                            </dgm:alg>
                          </dgm:else>
                        </dgm:choose>
                      </dgm:if>
                      <dgm:if name="Name300" axis="ch" ptType="node" func="cnt" op="equ" val="5">
                        <dgm:choose name="Name301">
                          <dgm:if name="Name302" axis="ch ch" ptType="node node" st="4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303" axis="ch ch" ptType="node node" st="4 1" cnt="1 0" func="cnt" op="equ" val="2">
                            <dgm:alg type="cycle">
                              <dgm:param type="ctrShpMap" val="fNode"/>
                              <dgm:param type="stAng" val="171"/>
                              <dgm:param type="spanAng" val="90"/>
                            </dgm:alg>
                          </dgm:if>
                          <dgm:else name="Name30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05" axis="ch" ptType="node" func="cnt" op="equ" val="6">
                        <dgm:choose name="Name306">
                          <dgm:if name="Name307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08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309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10" axis="ch" ptType="node" func="cnt" op="gte" val="7">
                        <dgm:choose name="Name311">
                          <dgm:if name="Name312" axis="ch ch" ptType="node node" st="4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13" axis="ch ch" ptType="node node" st="4 1" cnt="1 0" func="cnt" op="equ" val="2">
                            <dgm:alg type="cycle">
                              <dgm:param type="ctrShpMap" val="fNode"/>
                              <dgm:param type="stAng" val="109"/>
                              <dgm:param type="spanAng" val="90"/>
                            </dgm:alg>
                          </dgm:if>
                          <dgm:else name="Name31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15"/>
                    </dgm:choose>
                  </dgm:if>
                  <dgm:else name="Name316">
                    <dgm:choose name="Name317">
                      <dgm:if name="Name318" axis="ch" ptType="node" func="cnt" op="equ" val="4">
                        <dgm:choose name="Name319">
                          <dgm:if name="Name320" axis="ch ch" ptType="node node" st="4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321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-90"/>
                            </dgm:alg>
                          </dgm:if>
                          <dgm:else name="Name322">
                            <dgm:alg type="cycle">
                              <dgm:param type="ctrShpMap" val="fNode"/>
                              <dgm:param type="stAng" val="157.5"/>
                              <dgm:param type="spanAng" val="-135"/>
                            </dgm:alg>
                          </dgm:else>
                        </dgm:choose>
                      </dgm:if>
                      <dgm:if name="Name323" axis="ch" ptType="node" func="cnt" op="equ" val="5">
                        <dgm:choose name="Name324">
                          <dgm:if name="Name325" axis="ch ch" ptType="node node" st="4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326" axis="ch ch" ptType="node node" st="4 1" cnt="1 0" func="cnt" op="equ" val="2">
                            <dgm:alg type="cycle">
                              <dgm:param type="ctrShpMap" val="fNode"/>
                              <dgm:param type="stAng" val="189"/>
                              <dgm:param type="spanAng" val="-90"/>
                            </dgm:alg>
                          </dgm:if>
                          <dgm:else name="Name32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28" axis="ch" ptType="node" func="cnt" op="equ" val="6">
                        <dgm:choose name="Name329">
                          <dgm:if name="Name330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31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332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33" axis="ch" ptType="node" func="cnt" op="gte" val="7">
                        <dgm:choose name="Name334">
                          <dgm:if name="Name335" axis="ch ch" ptType="node node" st="4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36" axis="ch ch" ptType="node node" st="4 1" cnt="1 0" func="cnt" op="equ" val="2">
                            <dgm:alg type="cycle">
                              <dgm:param type="ctrShpMap" val="fNode"/>
                              <dgm:param type="stAng" val="250"/>
                              <dgm:param type="spanAng" val="-90"/>
                            </dgm:alg>
                          </dgm:if>
                          <dgm:else name="Name33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38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39" axis="ch" ptType="node" st="4" cnt="1">
                  <dgm:layoutNode name="childCenter4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40" axis="ch">
                    <dgm:forEach name="Name341" axis="self" ptType="parTrans">
                      <dgm:layoutNode name="Name342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43" axis="self" ptType="node">
                      <dgm:layoutNode name="text4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44" axis="ch" ptType="parTrans" st="4" cnt="1">
                <dgm:layoutNode name="Name345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4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46"/>
          </dgm:choose>
          <dgm:choose name="Name347">
            <dgm:if name="Name348" axis="ch" ptType="node" func="cnt" op="gte" val="5">
              <dgm:layoutNode name="cycle_5">
                <dgm:choose name="Name349">
                  <dgm:if name="Name350" func="var" arg="dir" op="equ" val="norm">
                    <dgm:choose name="Name351">
                      <dgm:if name="Name352" axis="ch" ptType="node" func="cnt" op="equ" val="5">
                        <dgm:choose name="Name353">
                          <dgm:if name="Name354" axis="ch ch" ptType="node node" st="5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355" axis="ch ch" ptType="node node" st="5 1" cnt="1 0" func="cnt" op="equ" val="2">
                            <dgm:alg type="cycle">
                              <dgm:param type="ctrShpMap" val="fNode"/>
                              <dgm:param type="stAng" val="243"/>
                              <dgm:param type="spanAng" val="90"/>
                            </dgm:alg>
                          </dgm:if>
                          <dgm:else name="Name35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57" axis="ch" ptType="node" func="cnt" op="equ" val="6">
                        <dgm:choose name="Name358">
                          <dgm:if name="Name359" axis="ch ch" ptType="node node" st="5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360" axis="ch ch" ptType="node node" st="5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</dgm:alg>
                          </dgm:if>
                          <dgm:else name="Name361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62" axis="ch" ptType="node" func="cnt" op="gte" val="7">
                        <dgm:choose name="Name363">
                          <dgm:if name="Name364" axis="ch ch" ptType="node node" st="5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65" axis="ch ch" ptType="node node" st="5 1" cnt="1 0" func="cnt" op="equ" val="2">
                            <dgm:alg type="cycle">
                              <dgm:param type="ctrShpMap" val="fNode"/>
                              <dgm:param type="stAng" val="160"/>
                              <dgm:param type="spanAng" val="90"/>
                            </dgm:alg>
                          </dgm:if>
                          <dgm:else name="Name36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67"/>
                    </dgm:choose>
                  </dgm:if>
                  <dgm:else name="Name368">
                    <dgm:choose name="Name369">
                      <dgm:if name="Name370" axis="ch" ptType="node" func="cnt" op="equ" val="5">
                        <dgm:choose name="Name371">
                          <dgm:if name="Name372" axis="ch ch" ptType="node node" st="5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373" axis="ch ch" ptType="node node" st="5 1" cnt="1 0" func="cnt" op="equ" val="2">
                            <dgm:alg type="cycle">
                              <dgm:param type="ctrShpMap" val="fNode"/>
                              <dgm:param type="stAng" val="117"/>
                              <dgm:param type="spanAng" val="-90"/>
                            </dgm:alg>
                          </dgm:if>
                          <dgm:else name="Name37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75" axis="ch" ptType="node" func="cnt" op="equ" val="6">
                        <dgm:choose name="Name376">
                          <dgm:if name="Name377" axis="ch ch" ptType="node node" st="5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378" axis="ch ch" ptType="node node" st="5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</dgm:alg>
                          </dgm:if>
                          <dgm:else name="Name379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80" axis="ch" ptType="node" func="cnt" op="gte" val="7">
                        <dgm:choose name="Name381">
                          <dgm:if name="Name382" axis="ch ch" ptType="node node" st="5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83" axis="ch ch" ptType="node node" st="5 1" cnt="1 0" func="cnt" op="equ" val="2">
                            <dgm:alg type="cycle">
                              <dgm:param type="ctrShpMap" val="fNode"/>
                              <dgm:param type="stAng" val="199"/>
                              <dgm:param type="spanAng" val="-90"/>
                            </dgm:alg>
                          </dgm:if>
                          <dgm:else name="Name38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85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86" axis="ch" ptType="node" st="5" cnt="1">
                  <dgm:layoutNode name="childCenter5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87" axis="ch">
                    <dgm:forEach name="Name388" axis="self" ptType="parTrans">
                      <dgm:layoutNode name="Name389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90" axis="self" ptType="node">
                      <dgm:layoutNode name="text5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91" axis="ch" ptType="parTrans" st="5" cnt="1">
                <dgm:layoutNode name="Name392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5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93"/>
          </dgm:choose>
          <dgm:choose name="Name394">
            <dgm:if name="Name395" axis="ch" ptType="node" func="cnt" op="gte" val="6">
              <dgm:layoutNode name="cycle_6">
                <dgm:choose name="Name396">
                  <dgm:if name="Name397" func="var" arg="dir" op="equ" val="norm">
                    <dgm:choose name="Name398">
                      <dgm:if name="Name399" axis="ch" ptType="node" func="cnt" op="equ" val="6">
                        <dgm:choose name="Name400">
                          <dgm:if name="Name401" axis="ch ch" ptType="node node" st="6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402" axis="ch ch" ptType="node node" st="6 1" cnt="1 0" func="cnt" op="equ" val="2">
                            <dgm:alg type="cycle">
                              <dgm:param type="ctrShpMap" val="fNode"/>
                              <dgm:param type="stAng" val="255"/>
                              <dgm:param type="spanAng" val="90"/>
                            </dgm:alg>
                          </dgm:if>
                          <dgm:else name="Name40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404" axis="ch" ptType="node" func="cnt" op="gte" val="7">
                        <dgm:choose name="Name405">
                          <dgm:if name="Name406" axis="ch ch" ptType="node node" st="6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407" axis="ch ch" ptType="node node" st="6 1" cnt="1 0" func="cnt" op="equ" val="2">
                            <dgm:alg type="cycle">
                              <dgm:param type="ctrShpMap" val="fNode"/>
                              <dgm:param type="stAng" val="212"/>
                              <dgm:param type="spanAng" val="90"/>
                            </dgm:alg>
                          </dgm:if>
                          <dgm:else name="Name40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09"/>
                    </dgm:choose>
                  </dgm:if>
                  <dgm:else name="Name410">
                    <dgm:choose name="Name411">
                      <dgm:if name="Name412" axis="ch" ptType="node" func="cnt" op="equ" val="6">
                        <dgm:choose name="Name413">
                          <dgm:if name="Name414" axis="ch ch" ptType="node node" st="6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415" axis="ch ch" ptType="node node" st="6 1" cnt="1 0" func="cnt" op="equ" val="2">
                            <dgm:alg type="cycle">
                              <dgm:param type="ctrShpMap" val="fNode"/>
                              <dgm:param type="stAng" val="105"/>
                              <dgm:param type="spanAng" val="-90"/>
                            </dgm:alg>
                          </dgm:if>
                          <dgm:else name="Name41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417" axis="ch" ptType="node" func="cnt" op="gte" val="7">
                        <dgm:choose name="Name418">
                          <dgm:if name="Name419" axis="ch ch" ptType="node node" st="6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420" axis="ch ch" ptType="node node" st="6 1" cnt="1 0" func="cnt" op="equ" val="2">
                            <dgm:alg type="cycle">
                              <dgm:param type="ctrShpMap" val="fNode"/>
                              <dgm:param type="stAng" val="147"/>
                              <dgm:param type="spanAng" val="-90"/>
                            </dgm:alg>
                          </dgm:if>
                          <dgm:else name="Name42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22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23" axis="ch" ptType="node" st="6" cnt="1">
                  <dgm:layoutNode name="childCenter6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24" axis="ch">
                    <dgm:forEach name="Name425" axis="self" ptType="parTrans">
                      <dgm:layoutNode name="Name426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27" axis="self" ptType="node">
                      <dgm:layoutNode name="text6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28" axis="ch" ptType="parTrans" st="6" cnt="1">
                <dgm:layoutNode name="Name429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6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30"/>
          </dgm:choose>
          <dgm:choose name="Name431">
            <dgm:if name="Name432" axis="ch" ptType="node" func="cnt" op="gte" val="7">
              <dgm:layoutNode name="cycle_7">
                <dgm:choose name="Name433">
                  <dgm:if name="Name434" func="var" arg="dir" op="equ" val="norm">
                    <dgm:choose name="Name435">
                      <dgm:if name="Name436" axis="ch" ptType="node" func="cnt" op="gte" val="7">
                        <dgm:choose name="Name437">
                          <dgm:if name="Name438" axis="ch ch" ptType="node node" st="7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439" axis="ch ch" ptType="node node" st="7 1" cnt="1 0" func="cnt" op="equ" val="2">
                            <dgm:alg type="cycle">
                              <dgm:param type="ctrShpMap" val="fNode"/>
                              <dgm:param type="stAng" val="263"/>
                              <dgm:param type="spanAng" val="90"/>
                            </dgm:alg>
                          </dgm:if>
                          <dgm:else name="Name44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41"/>
                    </dgm:choose>
                  </dgm:if>
                  <dgm:else name="Name442">
                    <dgm:choose name="Name443">
                      <dgm:if name="Name444" axis="ch" ptType="node" func="cnt" op="gte" val="7">
                        <dgm:choose name="Name445">
                          <dgm:if name="Name446" axis="ch ch" ptType="node node" st="7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447" axis="ch ch" ptType="node node" st="7 1" cnt="1 0" func="cnt" op="equ" val="2">
                            <dgm:alg type="cycle">
                              <dgm:param type="ctrShpMap" val="fNode"/>
                              <dgm:param type="stAng" val="96"/>
                              <dgm:param type="spanAng" val="-90"/>
                            </dgm:alg>
                          </dgm:if>
                          <dgm:else name="Name44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49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50" axis="ch" ptType="node" st="7" cnt="1">
                  <dgm:layoutNode name="childCenter7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51" axis="ch">
                    <dgm:forEach name="Name452" axis="self" ptType="parTrans">
                      <dgm:layoutNode name="Name453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54" axis="self" ptType="node">
                      <dgm:layoutNode name="text7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55" axis="ch" ptType="parTrans" st="7" cnt="1">
                <dgm:layoutNode name="Name456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7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5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equation1">
  <dgm:title val=""/>
  <dgm:desc val=""/>
  <dgm:catLst>
    <dgm:cat type="relationship" pri="17000"/>
    <dgm:cat type="process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choose name="Name0">
      <dgm:if name="Name1" func="var" arg="dir" op="equ" val="norm">
        <dgm:alg type="lin">
          <dgm:param type="fallback" val="2D"/>
        </dgm:alg>
      </dgm:if>
      <dgm:else name="Name2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fact="0.58"/>
      <dgm:constr type="primFontSz" for="ch" ptType="node" op="equ" val="65"/>
      <dgm:constr type="primFontSz" for="ch" ptType="sibTrans" op="equ" val="55"/>
      <dgm:constr type="primFontSz" for="ch" ptType="sibTrans" refType="primFontSz" refFor="ch" refPtType="node" op="lte" fact="0.8"/>
      <dgm:constr type="w" for="ch" forName="spacerL" refType="w" refFor="ch" refPtType="sibTrans" fact="0.14"/>
      <dgm:constr type="w" for="ch" forName="spacerR" refType="w" refFor="ch" refPtType="sibTrans" fact="0.14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pacerL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ibTrans">
          <dgm:alg type="tx"/>
          <dgm:choose name="Name3">
            <dgm:if name="Name4" axis="followSib" ptType="sibTrans" func="cnt" op="equ" val="0">
              <dgm:shape xmlns:r="http://schemas.openxmlformats.org/officeDocument/2006/relationships" type="mathEqual" r:blip="">
                <dgm:adjLst/>
              </dgm:shape>
            </dgm:if>
            <dgm:else name="Name5">
              <dgm:shape xmlns:r="http://schemas.openxmlformats.org/officeDocument/2006/relationships" type="mathPlus" r:blip="">
                <dgm:adjLst/>
              </dgm:shape>
            </dgm:else>
          </dgm:choose>
          <dgm:presOf axis="self"/>
          <dgm:constrLst>
            <dgm:constr type="h" refType="w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  <dgm:layoutNode name="spacerR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18/2/layout/IconLabelList">
  <dgm:title val="Icon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2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50"/>
          <dgm:constr type="h" for="des" forName="compNode" op="equ"/>
          <dgm:constr type="h" for="des" forName="textRect" op="equ"/>
        </dgm:constrLst>
      </dgm:if>
      <dgm:if name="Name5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6"/>
          <dgm:constr type="h" for="des" forName="compNode" op="equ"/>
          <dgm:constr type="h" for="des" forName="textRect" op="equ"/>
        </dgm:constrLst>
      </dgm:if>
      <dgm:else name="Name6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7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4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h" for="ch" forName="spaceRect" refType="h" fact="0.15"/>
          <dgm:constr type="w" for="ch" forName="spaceRect" refType="w"/>
          <dgm:constr type="l" for="ch" forName="spaceRect"/>
          <dgm:constr type="t" for="ch" forName="spaceRect" refType="b" refFor="ch" refForName="icon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8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C74E31-4102-4DAB-AA30-205A8BC854D4}" type="datetimeFigureOut">
              <a:rPr lang="fr-FR" smtClean="0"/>
              <a:t>12/03/2021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99E81F-EEE6-4E3A-AE16-C0BE10FF168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654023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6677021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2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6765064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2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343596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3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2889147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3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3437002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3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0823458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3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8475875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3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6718945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746DE6-3336-457D-A091-FA20AC1C536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299157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746DE6-3336-457D-A091-FA20AC1C536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878951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746DE6-3336-457D-A091-FA20AC1C536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58521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7659366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746DE6-3336-457D-A091-FA20AC1C536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583110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3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1252186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5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983355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027208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829238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2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042364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2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505040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2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763984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2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621560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2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504668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7BD57D-84CD-4DA6-ACCF-8CEC063D82A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9D19402C-4986-4F03-B149-B59478CBC5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16A17A5-4404-44D9-B645-2177629EB8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12/03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036A295-F235-411B-8653-78D5CFEBA5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4D0148C-2377-437A-9B96-C1D01D45C6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924178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0CF77D9-A2E2-47AF-9DA6-3E88E50EDD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2BF1DE80-A284-4C12-8998-96E09ECD2B3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C39B5A0B-FBB5-4756-860F-875AB0CB74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12/03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42CC808-89A4-47E4-B295-3F9116F829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D55BD20-72DC-487C-8B40-787775EBCB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254805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C2353EA2-D366-4F02-B08A-5FEED95BD9E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94DA6CD5-251E-4DFA-B380-5EB21302946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85B917B-2B60-4988-B84F-D3AFCB1DD9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12/03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FB53DFA-3E34-4A01-A1E8-6D7B744573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8A9D7E8-2346-4B4B-9CF9-1C67D6668C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622623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12/03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939147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12/03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455445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12/03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408427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12/03/2021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277953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12/03/2021</a:t>
            </a:fld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163619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12/03/2021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476182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12/03/2021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642420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12/03/2021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20701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CD533BA-64DD-46E7-AC37-8284A1B92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C5FA018E-EDA2-4960-8996-9D0F0B3713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C1E258E7-ED34-4740-9A51-3EF6365489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12/03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FE4DA7DE-70E6-4FC4-AEB8-2B4A910288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74F055B-A12A-40C8-913E-87AC2D74D6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9426434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12/03/2021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9294965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12/03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750211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12/03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231673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DA53301-5DB9-4753-ABD4-856DD5147A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6065A32-834F-432D-A0D3-7ECBC848C5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616BCDE-E203-48ED-B45F-9D93DC3EF8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12/03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44B27C3-8E90-44EF-B2A0-1D4A9700A9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45169281-95B4-43D4-BD98-2009AB077C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865402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D3EE1FC-395B-4804-BCED-98B869CA37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ED30819D-33A8-4726-B505-831ADB90F9E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C727D8D7-37DF-475A-8F8B-107336CE7F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626DA209-39AA-44B8-BA06-71668A7279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12/03/2021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3E701A22-5ACC-4505-9A5B-EFFCF1BEE0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5A5BF9EC-FDAE-4527-A964-C32D4D8856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724593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1E377DA-C3AC-4A42-9312-85C3B28A1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EECFD34-CCC4-4C10-95D2-1DCC3D87556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4D248D42-AEE2-48BB-B8A6-37B3BF1EC7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EFF54CA6-B4B3-4EBE-BAA9-8A083AD04B0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CB67F1B9-3210-4603-A593-82AA1477977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A4FE2936-F0AC-4E86-9BB9-6C88937F17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12/03/2021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D4B4DA8C-4CAE-47BB-B5D8-D3CD8CA087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8F733564-54DF-4A81-A1E0-E16BDFCCC3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856009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6106E18-40BE-4CE6-A1DE-51E2FCB71E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CC9E90AC-A901-4B3B-8F1A-62F80383E9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12/03/2021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B69960F-910E-441F-9234-4EFA031749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6DEAD386-BAAD-4887-AEC1-ACEC7AC750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708421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EA3A60B-5261-4319-9606-C7A19FE79F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12/03/2021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7CD7E47D-E0D5-4EA3-A174-877281D1E4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BBBA8F0E-BF11-4E0E-B6B3-0C4D3ED9A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94231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0D5B282-2CDC-43BA-91BF-BB825DDC3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B2B1462-82C2-41F9-B928-24CD0E058B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F8E6443F-D9C8-4B0A-A85E-AFB98C1784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E58546B2-B4AD-4632-A7F6-E278F595C8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12/03/2021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F95E8C30-5617-4C3D-86F5-1BB6370D38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9698214D-67A4-4095-A830-2541FC31FF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319985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B9969A8-DB1E-4329-86AA-AAC523FDA2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47A97373-2753-4E91-A499-97DCFA713F0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E0A5C63-7589-47D3-A6A8-2BAA1AA21CB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6658AF3C-8B47-4456-B292-94827E8D00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12/03/2021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CA94149C-1965-48BE-A21B-231EFD4799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C75B3F0F-B380-4E1B-AC33-1610717B8B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355383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B24DAE3-D939-4C4D-88F9-662ED8E02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E0D21944-0B8F-4C3A-9BCA-D8EF26A831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5B3C1B60-F7FD-45E2-AFE6-969B7E482D0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AAC662-8F7E-46FF-BF45-54D2733F0C8C}" type="datetimeFigureOut">
              <a:rPr lang="fr-FR" smtClean="0"/>
              <a:t>12/03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66FD234-03EA-4C46-8B22-CFC6DD2300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10ED5CD-B777-437E-B0F8-CFA32F5B35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81814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302334-7E8B-4320-A1E2-4B05AC15A670}" type="datetimeFigureOut">
              <a:rPr lang="fr-FR" smtClean="0"/>
              <a:pPr/>
              <a:t>12/03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772646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5.xml"/><Relationship Id="rId3" Type="http://schemas.openxmlformats.org/officeDocument/2006/relationships/image" Target="../media/image7.jpeg"/><Relationship Id="rId7" Type="http://schemas.openxmlformats.org/officeDocument/2006/relationships/diagramQuickStyle" Target="../diagrams/quickStyle5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6" Type="http://schemas.openxmlformats.org/officeDocument/2006/relationships/diagramLayout" Target="../diagrams/layout5.xml"/><Relationship Id="rId11" Type="http://schemas.openxmlformats.org/officeDocument/2006/relationships/image" Target="../media/image10.jpeg"/><Relationship Id="rId5" Type="http://schemas.openxmlformats.org/officeDocument/2006/relationships/diagramData" Target="../diagrams/data5.xml"/><Relationship Id="rId10" Type="http://schemas.openxmlformats.org/officeDocument/2006/relationships/image" Target="../media/image9.png"/><Relationship Id="rId4" Type="http://schemas.openxmlformats.org/officeDocument/2006/relationships/image" Target="../media/image8.jpeg"/><Relationship Id="rId9" Type="http://schemas.microsoft.com/office/2007/relationships/diagramDrawing" Target="../diagrams/drawing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6.xml"/><Relationship Id="rId3" Type="http://schemas.openxmlformats.org/officeDocument/2006/relationships/image" Target="../media/image12.jpeg"/><Relationship Id="rId7" Type="http://schemas.openxmlformats.org/officeDocument/2006/relationships/diagramLayout" Target="../diagrams/layout6.xml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.xml"/><Relationship Id="rId6" Type="http://schemas.openxmlformats.org/officeDocument/2006/relationships/diagramData" Target="../diagrams/data6.xml"/><Relationship Id="rId5" Type="http://schemas.openxmlformats.org/officeDocument/2006/relationships/image" Target="../media/image14.png"/><Relationship Id="rId10" Type="http://schemas.microsoft.com/office/2007/relationships/diagramDrawing" Target="../diagrams/drawing6.xml"/><Relationship Id="rId4" Type="http://schemas.openxmlformats.org/officeDocument/2006/relationships/image" Target="../media/image13.jpeg"/><Relationship Id="rId9" Type="http://schemas.openxmlformats.org/officeDocument/2006/relationships/diagramColors" Target="../diagrams/colors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image" Target="../media/image7.jpeg"/><Relationship Id="rId7" Type="http://schemas.openxmlformats.org/officeDocument/2006/relationships/image" Target="../media/image12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jpeg"/><Relationship Id="rId5" Type="http://schemas.openxmlformats.org/officeDocument/2006/relationships/image" Target="../media/image9.png"/><Relationship Id="rId4" Type="http://schemas.openxmlformats.org/officeDocument/2006/relationships/image" Target="../media/image16.jpeg"/><Relationship Id="rId9" Type="http://schemas.openxmlformats.org/officeDocument/2006/relationships/image" Target="../media/image17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hyperlink" Target="https://www.infirmiers.com/votre-carriere/ide-liberale/la-comptabilite-infirmier-liberal-pourquoi-ne-pas-externaliser.html" TargetMode="External"/><Relationship Id="rId4" Type="http://schemas.openxmlformats.org/officeDocument/2006/relationships/image" Target="../media/image2.jp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9.xml"/><Relationship Id="rId7" Type="http://schemas.microsoft.com/office/2007/relationships/diagramDrawing" Target="../diagrams/drawing9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9.xml"/><Relationship Id="rId5" Type="http://schemas.openxmlformats.org/officeDocument/2006/relationships/diagramQuickStyle" Target="../diagrams/quickStyle9.xml"/><Relationship Id="rId4" Type="http://schemas.openxmlformats.org/officeDocument/2006/relationships/diagramLayout" Target="../diagrams/layout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0.xml"/><Relationship Id="rId7" Type="http://schemas.microsoft.com/office/2007/relationships/diagramDrawing" Target="../diagrams/drawing10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0.xml"/><Relationship Id="rId5" Type="http://schemas.openxmlformats.org/officeDocument/2006/relationships/diagramQuickStyle" Target="../diagrams/quickStyle10.xml"/><Relationship Id="rId4" Type="http://schemas.openxmlformats.org/officeDocument/2006/relationships/diagramLayout" Target="../diagrams/layout1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1.xml"/><Relationship Id="rId7" Type="http://schemas.microsoft.com/office/2007/relationships/diagramDrawing" Target="../diagrams/drawing1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1.xml"/><Relationship Id="rId5" Type="http://schemas.openxmlformats.org/officeDocument/2006/relationships/diagramQuickStyle" Target="../diagrams/quickStyle11.xml"/><Relationship Id="rId4" Type="http://schemas.openxmlformats.org/officeDocument/2006/relationships/diagramLayout" Target="../diagrams/layout1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2.xml"/><Relationship Id="rId7" Type="http://schemas.microsoft.com/office/2007/relationships/diagramDrawing" Target="../diagrams/drawing12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2.xml"/><Relationship Id="rId5" Type="http://schemas.openxmlformats.org/officeDocument/2006/relationships/diagramQuickStyle" Target="../diagrams/quickStyle12.xml"/><Relationship Id="rId4" Type="http://schemas.openxmlformats.org/officeDocument/2006/relationships/diagramLayout" Target="../diagrams/layout1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3.xml"/><Relationship Id="rId7" Type="http://schemas.microsoft.com/office/2007/relationships/diagramDrawing" Target="../diagrams/drawing13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3.xml"/><Relationship Id="rId5" Type="http://schemas.openxmlformats.org/officeDocument/2006/relationships/diagramQuickStyle" Target="../diagrams/quickStyle13.xml"/><Relationship Id="rId4" Type="http://schemas.openxmlformats.org/officeDocument/2006/relationships/diagramLayout" Target="../diagrams/layout1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4.xml"/><Relationship Id="rId7" Type="http://schemas.microsoft.com/office/2007/relationships/diagramDrawing" Target="../diagrams/drawing14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4.xml"/><Relationship Id="rId5" Type="http://schemas.openxmlformats.org/officeDocument/2006/relationships/diagramQuickStyle" Target="../diagrams/quickStyle14.xml"/><Relationship Id="rId4" Type="http://schemas.openxmlformats.org/officeDocument/2006/relationships/diagramLayout" Target="../diagrams/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5" Type="http://schemas.openxmlformats.org/officeDocument/2006/relationships/hyperlink" Target="https://www.infirmiers.com/votre-carriere/ide-liberale/la-comptabilite-infirmier-liberal-pourquoi-ne-pas-externaliser.html" TargetMode="External"/><Relationship Id="rId4" Type="http://schemas.openxmlformats.org/officeDocument/2006/relationships/image" Target="../media/image2.jp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hyperlink" Target="https://www.infirmiers.com/votre-carriere/ide-liberale/la-comptabilite-infirmier-liberal-pourquoi-ne-pas-externaliser.html" TargetMode="External"/><Relationship Id="rId4" Type="http://schemas.openxmlformats.org/officeDocument/2006/relationships/image" Target="../media/image2.jp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5.xml"/><Relationship Id="rId7" Type="http://schemas.microsoft.com/office/2007/relationships/diagramDrawing" Target="../diagrams/drawing15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5.xml"/><Relationship Id="rId5" Type="http://schemas.openxmlformats.org/officeDocument/2006/relationships/diagramQuickStyle" Target="../diagrams/quickStyle15.xml"/><Relationship Id="rId4" Type="http://schemas.openxmlformats.org/officeDocument/2006/relationships/diagramLayout" Target="../diagrams/layout1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6.xml"/><Relationship Id="rId7" Type="http://schemas.microsoft.com/office/2007/relationships/diagramDrawing" Target="../diagrams/drawing16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6.xml"/><Relationship Id="rId5" Type="http://schemas.openxmlformats.org/officeDocument/2006/relationships/diagramQuickStyle" Target="../diagrams/quickStyle16.xml"/><Relationship Id="rId4" Type="http://schemas.openxmlformats.org/officeDocument/2006/relationships/diagramLayout" Target="../diagrams/layout1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7.xml"/><Relationship Id="rId7" Type="http://schemas.microsoft.com/office/2007/relationships/diagramDrawing" Target="../diagrams/drawing17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7.xml"/><Relationship Id="rId5" Type="http://schemas.openxmlformats.org/officeDocument/2006/relationships/diagramQuickStyle" Target="../diagrams/quickStyle17.xml"/><Relationship Id="rId4" Type="http://schemas.openxmlformats.org/officeDocument/2006/relationships/diagramLayout" Target="../diagrams/layout1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8.xml"/><Relationship Id="rId7" Type="http://schemas.microsoft.com/office/2007/relationships/diagramDrawing" Target="../diagrams/drawing18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8.xml"/><Relationship Id="rId5" Type="http://schemas.openxmlformats.org/officeDocument/2006/relationships/diagramQuickStyle" Target="../diagrams/quickStyle18.xml"/><Relationship Id="rId4" Type="http://schemas.openxmlformats.org/officeDocument/2006/relationships/diagramLayout" Target="../diagrams/layout18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.jpeg"/><Relationship Id="rId4" Type="http://schemas.openxmlformats.org/officeDocument/2006/relationships/image" Target="../media/image25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hyperlink" Target="https://www.infirmiers.com/votre-carriere/ide-liberale/la-comptabilite-infirmier-liberal-pourquoi-ne-pas-externaliser.html" TargetMode="External"/><Relationship Id="rId4" Type="http://schemas.openxmlformats.org/officeDocument/2006/relationships/image" Target="../media/image2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4" Type="http://schemas.openxmlformats.org/officeDocument/2006/relationships/image" Target="../media/image3.jpe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5" Type="http://schemas.openxmlformats.org/officeDocument/2006/relationships/hyperlink" Target="https://espritscience.blogspot.com/2008/01/du-rapport-des-temps.html" TargetMode="External"/><Relationship Id="rId4" Type="http://schemas.openxmlformats.org/officeDocument/2006/relationships/image" Target="../media/image28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F09AF2F-022D-42E7-9EE8-B11BCE898DA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64614" y="1783959"/>
            <a:ext cx="4087306" cy="2889114"/>
          </a:xfrm>
        </p:spPr>
        <p:txBody>
          <a:bodyPr anchor="b">
            <a:normAutofit fontScale="90000"/>
          </a:bodyPr>
          <a:lstStyle/>
          <a:p>
            <a:pPr algn="l"/>
            <a:r>
              <a:rPr lang="fr-FR" sz="5400" dirty="0">
                <a:latin typeface="Arial" panose="020B0604020202020204" pitchFamily="34" charset="0"/>
                <a:cs typeface="Arial" panose="020B0604020202020204" pitchFamily="34" charset="0"/>
              </a:rPr>
              <a:t>Université de Montpellier</a:t>
            </a:r>
            <a:br>
              <a:rPr lang="fr-FR" sz="5400" dirty="0"/>
            </a:br>
            <a:endParaRPr lang="fr-FR" sz="5400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21349F9F-31B4-41DC-B4DB-C097467B52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4612" y="4750893"/>
            <a:ext cx="4489965" cy="1147863"/>
          </a:xfrm>
        </p:spPr>
        <p:txBody>
          <a:bodyPr anchor="t">
            <a:normAutofit fontScale="70000" lnSpcReduction="20000"/>
          </a:bodyPr>
          <a:lstStyle/>
          <a:p>
            <a:pPr algn="l"/>
            <a:endParaRPr lang="fr-FR" sz="2000" dirty="0"/>
          </a:p>
          <a:p>
            <a:pPr algn="l"/>
            <a:r>
              <a:rPr lang="fr-FR" sz="4000" dirty="0">
                <a:latin typeface="Arial" panose="020B0604020202020204" pitchFamily="34" charset="0"/>
                <a:cs typeface="Arial" panose="020B0604020202020204" pitchFamily="34" charset="0"/>
              </a:rPr>
              <a:t>Cours de comptabilité N°4</a:t>
            </a:r>
          </a:p>
          <a:p>
            <a:pPr algn="l"/>
            <a:r>
              <a:rPr lang="fr-FR" sz="4000" dirty="0">
                <a:latin typeface="Arial" panose="020B0604020202020204" pitchFamily="34" charset="0"/>
                <a:cs typeface="Arial" panose="020B0604020202020204" pitchFamily="34" charset="0"/>
              </a:rPr>
              <a:t>12 mars 2021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E49CC64F-7275-4E33-961B-0C5CDC4398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 flipV="1">
            <a:off x="1" y="0"/>
            <a:ext cx="7188051" cy="6858000"/>
          </a:xfrm>
          <a:custGeom>
            <a:avLst/>
            <a:gdLst>
              <a:gd name="connsiteX0" fmla="*/ 7188051 w 7188051"/>
              <a:gd name="connsiteY0" fmla="*/ 6858000 h 6858000"/>
              <a:gd name="connsiteX1" fmla="*/ 108694 w 7188051"/>
              <a:gd name="connsiteY1" fmla="*/ 6858000 h 6858000"/>
              <a:gd name="connsiteX2" fmla="*/ 79127 w 7188051"/>
              <a:gd name="connsiteY2" fmla="*/ 6681235 h 6858000"/>
              <a:gd name="connsiteX3" fmla="*/ 0 w 7188051"/>
              <a:gd name="connsiteY3" fmla="*/ 5565888 h 6858000"/>
              <a:gd name="connsiteX4" fmla="*/ 2190696 w 7188051"/>
              <a:gd name="connsiteY4" fmla="*/ 145339 h 6858000"/>
              <a:gd name="connsiteX5" fmla="*/ 2339431 w 7188051"/>
              <a:gd name="connsiteY5" fmla="*/ 0 h 6858000"/>
              <a:gd name="connsiteX6" fmla="*/ 7188051 w 718805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88051" h="6858000">
                <a:moveTo>
                  <a:pt x="7188051" y="6858000"/>
                </a:moveTo>
                <a:lnTo>
                  <a:pt x="108694" y="6858000"/>
                </a:lnTo>
                <a:lnTo>
                  <a:pt x="79127" y="6681235"/>
                </a:lnTo>
                <a:cubicBezTo>
                  <a:pt x="26981" y="6316967"/>
                  <a:pt x="0" y="5944579"/>
                  <a:pt x="0" y="5565888"/>
                </a:cubicBezTo>
                <a:cubicBezTo>
                  <a:pt x="0" y="3459953"/>
                  <a:pt x="834428" y="1548908"/>
                  <a:pt x="2190696" y="145339"/>
                </a:cubicBezTo>
                <a:lnTo>
                  <a:pt x="2339431" y="0"/>
                </a:lnTo>
                <a:lnTo>
                  <a:pt x="7188051" y="0"/>
                </a:lnTo>
                <a:close/>
              </a:path>
            </a:pathLst>
          </a:cu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5" name="Picture 4" descr="Bibliothèque publique floue abstraite avec des étagères à livres">
            <a:extLst>
              <a:ext uri="{FF2B5EF4-FFF2-40B4-BE49-F238E27FC236}">
                <a16:creationId xmlns:a16="http://schemas.microsoft.com/office/drawing/2014/main" id="{7BB6D41E-7376-4805-B0B6-C72AFA381B6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625" r="26964" b="-1"/>
          <a:stretch/>
        </p:blipFill>
        <p:spPr>
          <a:xfrm>
            <a:off x="1" y="10"/>
            <a:ext cx="7028495" cy="6857990"/>
          </a:xfrm>
          <a:custGeom>
            <a:avLst/>
            <a:gdLst/>
            <a:ahLst/>
            <a:cxnLst/>
            <a:rect l="l" t="t" r="r" b="b"/>
            <a:pathLst>
              <a:path w="7028495" h="6858000">
                <a:moveTo>
                  <a:pt x="0" y="0"/>
                </a:moveTo>
                <a:lnTo>
                  <a:pt x="6915668" y="0"/>
                </a:lnTo>
                <a:lnTo>
                  <a:pt x="6952411" y="219663"/>
                </a:lnTo>
                <a:cubicBezTo>
                  <a:pt x="7002551" y="569921"/>
                  <a:pt x="7028495" y="927986"/>
                  <a:pt x="7028495" y="1292112"/>
                </a:cubicBezTo>
                <a:cubicBezTo>
                  <a:pt x="7028495" y="3343346"/>
                  <a:pt x="6205186" y="5202289"/>
                  <a:pt x="4870994" y="6556512"/>
                </a:cubicBezTo>
                <a:lnTo>
                  <a:pt x="4556185" y="6858000"/>
                </a:lnTo>
                <a:lnTo>
                  <a:pt x="0" y="68580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8486391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"/>
          <p:cNvSpPr/>
          <p:nvPr/>
        </p:nvSpPr>
        <p:spPr>
          <a:xfrm>
            <a:off x="2043790" y="382394"/>
            <a:ext cx="8352928" cy="648072"/>
          </a:xfrm>
          <a:prstGeom prst="roundRect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b="1" dirty="0"/>
              <a:t>Un événement capital</a:t>
            </a:r>
          </a:p>
        </p:txBody>
      </p:sp>
      <p:grpSp>
        <p:nvGrpSpPr>
          <p:cNvPr id="4" name="Groupe 3"/>
          <p:cNvGrpSpPr/>
          <p:nvPr/>
        </p:nvGrpSpPr>
        <p:grpSpPr>
          <a:xfrm>
            <a:off x="3339934" y="2241153"/>
            <a:ext cx="5760640" cy="2731985"/>
            <a:chOff x="1835696" y="2276872"/>
            <a:chExt cx="5760640" cy="2731985"/>
          </a:xfrm>
        </p:grpSpPr>
        <p:sp>
          <p:nvSpPr>
            <p:cNvPr id="5" name="Rectangle 4"/>
            <p:cNvSpPr/>
            <p:nvPr/>
          </p:nvSpPr>
          <p:spPr>
            <a:xfrm>
              <a:off x="5796136" y="2276872"/>
              <a:ext cx="1800200" cy="1512168"/>
            </a:xfrm>
            <a:prstGeom prst="rect">
              <a:avLst/>
            </a:prstGeom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2000" b="1" dirty="0"/>
                <a:t>Associé</a:t>
              </a:r>
            </a:p>
            <a:p>
              <a:pPr algn="ctr"/>
              <a:endParaRPr lang="fr-FR" sz="2000" b="1" dirty="0"/>
            </a:p>
            <a:p>
              <a:pPr algn="ctr"/>
              <a:r>
                <a:rPr lang="fr-FR" sz="2000" b="1" dirty="0"/>
                <a:t>Capital</a:t>
              </a:r>
            </a:p>
          </p:txBody>
        </p:sp>
        <p:sp>
          <p:nvSpPr>
            <p:cNvPr id="7" name="Rectangle 6"/>
            <p:cNvSpPr/>
            <p:nvPr/>
          </p:nvSpPr>
          <p:spPr>
            <a:xfrm>
              <a:off x="1835696" y="3676110"/>
              <a:ext cx="1800200" cy="1172589"/>
            </a:xfrm>
            <a:prstGeom prst="rect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2000" b="1" dirty="0"/>
                <a:t>Banque</a:t>
              </a:r>
            </a:p>
          </p:txBody>
        </p:sp>
        <p:sp>
          <p:nvSpPr>
            <p:cNvPr id="6" name="Flèche vers le bas 5"/>
            <p:cNvSpPr/>
            <p:nvPr/>
          </p:nvSpPr>
          <p:spPr>
            <a:xfrm rot="3800647">
              <a:off x="4629065" y="2468505"/>
              <a:ext cx="157331" cy="2316903"/>
            </a:xfrm>
            <a:prstGeom prst="downArrow">
              <a:avLst/>
            </a:prstGeom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8" name="Rectangle 7"/>
            <p:cNvSpPr/>
            <p:nvPr/>
          </p:nvSpPr>
          <p:spPr>
            <a:xfrm>
              <a:off x="2339752" y="4617731"/>
              <a:ext cx="792088" cy="391126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fr-FR" sz="2000" b="1" dirty="0"/>
                <a:t>500 €</a:t>
              </a:r>
            </a:p>
          </p:txBody>
        </p:sp>
        <p:sp>
          <p:nvSpPr>
            <p:cNvPr id="10" name="Rectangle 9"/>
            <p:cNvSpPr/>
            <p:nvPr/>
          </p:nvSpPr>
          <p:spPr>
            <a:xfrm>
              <a:off x="6300192" y="3593477"/>
              <a:ext cx="792088" cy="391126"/>
            </a:xfrm>
            <a:prstGeom prst="rect">
              <a:avLst/>
            </a:prstGeom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fr-FR" sz="2000" b="1" dirty="0"/>
                <a:t>500 €</a:t>
              </a:r>
            </a:p>
          </p:txBody>
        </p:sp>
      </p:grpSp>
      <p:sp>
        <p:nvSpPr>
          <p:cNvPr id="3" name="Rectangle à coins arrondis 2"/>
          <p:cNvSpPr/>
          <p:nvPr/>
        </p:nvSpPr>
        <p:spPr>
          <a:xfrm>
            <a:off x="2043790" y="1268760"/>
            <a:ext cx="8352928" cy="792088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2000" b="1" dirty="0"/>
              <a:t>L’argent que les créateurs allouent à leur projet s’appelle le capital.</a:t>
            </a:r>
          </a:p>
          <a:p>
            <a:pPr algn="ctr"/>
            <a:r>
              <a:rPr lang="fr-FR" sz="2000" b="1" dirty="0"/>
              <a:t>Le capital est d’abord déposé à la banque de la société.</a:t>
            </a:r>
          </a:p>
        </p:txBody>
      </p:sp>
      <p:sp>
        <p:nvSpPr>
          <p:cNvPr id="11" name="Rectangle à coins arrondis 10"/>
          <p:cNvSpPr/>
          <p:nvPr/>
        </p:nvSpPr>
        <p:spPr>
          <a:xfrm>
            <a:off x="2043790" y="5301208"/>
            <a:ext cx="8352928" cy="792088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2000" b="1" dirty="0"/>
              <a:t>Le capital représente la mise de fonds des associés, il leur appartient. C’est donc une forme de dette de la société envers ses associés.</a:t>
            </a:r>
          </a:p>
        </p:txBody>
      </p:sp>
    </p:spTree>
    <p:extLst>
      <p:ext uri="{BB962C8B-B14F-4D97-AF65-F5344CB8AC3E}">
        <p14:creationId xmlns:p14="http://schemas.microsoft.com/office/powerpoint/2010/main" val="301849445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"/>
          <p:cNvSpPr/>
          <p:nvPr/>
        </p:nvSpPr>
        <p:spPr>
          <a:xfrm>
            <a:off x="2063552" y="404664"/>
            <a:ext cx="8352928" cy="648072"/>
          </a:xfrm>
          <a:prstGeom prst="roundRect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b="1" dirty="0"/>
              <a:t>Où est notre argent ?</a:t>
            </a:r>
          </a:p>
        </p:txBody>
      </p:sp>
      <p:graphicFrame>
        <p:nvGraphicFramePr>
          <p:cNvPr id="5" name="Diagramme 4"/>
          <p:cNvGraphicFramePr/>
          <p:nvPr/>
        </p:nvGraphicFramePr>
        <p:xfrm>
          <a:off x="1775520" y="1556792"/>
          <a:ext cx="8640960" cy="50001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8040525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"/>
          <p:cNvSpPr/>
          <p:nvPr/>
        </p:nvSpPr>
        <p:spPr>
          <a:xfrm>
            <a:off x="2063552" y="404664"/>
            <a:ext cx="8352928" cy="648072"/>
          </a:xfrm>
          <a:prstGeom prst="roundRect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b="1" dirty="0"/>
              <a:t>Où est notre argent ?</a:t>
            </a:r>
          </a:p>
        </p:txBody>
      </p:sp>
      <p:graphicFrame>
        <p:nvGraphicFramePr>
          <p:cNvPr id="3" name="Diagramme 2"/>
          <p:cNvGraphicFramePr/>
          <p:nvPr/>
        </p:nvGraphicFramePr>
        <p:xfrm>
          <a:off x="2315580" y="2852936"/>
          <a:ext cx="7848872" cy="34159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Rectangle 9"/>
          <p:cNvSpPr/>
          <p:nvPr/>
        </p:nvSpPr>
        <p:spPr>
          <a:xfrm>
            <a:off x="3565313" y="5373216"/>
            <a:ext cx="1332148" cy="679158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3200" b="1" dirty="0"/>
              <a:t>500 €</a:t>
            </a:r>
          </a:p>
        </p:txBody>
      </p:sp>
      <p:sp>
        <p:nvSpPr>
          <p:cNvPr id="8" name="Rectangle 7"/>
          <p:cNvSpPr/>
          <p:nvPr/>
        </p:nvSpPr>
        <p:spPr>
          <a:xfrm>
            <a:off x="7680176" y="5373216"/>
            <a:ext cx="1332148" cy="679158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3200" b="1" dirty="0"/>
              <a:t>500 €</a:t>
            </a:r>
          </a:p>
        </p:txBody>
      </p:sp>
      <p:sp>
        <p:nvSpPr>
          <p:cNvPr id="4" name="Ellipse 3"/>
          <p:cNvSpPr/>
          <p:nvPr/>
        </p:nvSpPr>
        <p:spPr>
          <a:xfrm>
            <a:off x="2503195" y="1531252"/>
            <a:ext cx="3456384" cy="864096"/>
          </a:xfrm>
          <a:prstGeom prst="ellipse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b="1" dirty="0"/>
              <a:t>Où est notre argent ?</a:t>
            </a:r>
          </a:p>
        </p:txBody>
      </p:sp>
      <p:sp>
        <p:nvSpPr>
          <p:cNvPr id="7" name="Ellipse 6"/>
          <p:cNvSpPr/>
          <p:nvPr/>
        </p:nvSpPr>
        <p:spPr>
          <a:xfrm>
            <a:off x="6618058" y="1531252"/>
            <a:ext cx="3456384" cy="864096"/>
          </a:xfrm>
          <a:prstGeom prst="ellipse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b="1" dirty="0"/>
              <a:t>D’où vient notre argent ?</a:t>
            </a:r>
          </a:p>
        </p:txBody>
      </p:sp>
    </p:spTree>
    <p:extLst>
      <p:ext uri="{BB962C8B-B14F-4D97-AF65-F5344CB8AC3E}">
        <p14:creationId xmlns:p14="http://schemas.microsoft.com/office/powerpoint/2010/main" val="176509322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66" name="Picture 18" descr="Afficher l'image d'origin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164" y="5170315"/>
            <a:ext cx="2346813" cy="13448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Afficher l'image d'origin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04313" y="3565584"/>
            <a:ext cx="1585259" cy="15852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 descr="Afficher l'image d'origine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3508" y="3580496"/>
            <a:ext cx="1358298" cy="10526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Diagramme 7"/>
          <p:cNvGraphicFramePr/>
          <p:nvPr/>
        </p:nvGraphicFramePr>
        <p:xfrm>
          <a:off x="1847529" y="270072"/>
          <a:ext cx="8642042" cy="60392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4" name="Picture 4" descr="Afficher l'image d'origin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6080" y="270073"/>
            <a:ext cx="1673896" cy="1181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2" name="Picture 14" descr="Afficher l'image d'origin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1183" y="3565583"/>
            <a:ext cx="421250" cy="421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tangle à coins arrondis 21"/>
          <p:cNvSpPr/>
          <p:nvPr/>
        </p:nvSpPr>
        <p:spPr>
          <a:xfrm rot="20216546">
            <a:off x="1806542" y="865184"/>
            <a:ext cx="3210526" cy="648072"/>
          </a:xfrm>
          <a:prstGeom prst="roundRect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b="1" dirty="0"/>
              <a:t>Photo !</a:t>
            </a:r>
          </a:p>
        </p:txBody>
      </p:sp>
    </p:spTree>
    <p:extLst>
      <p:ext uri="{BB962C8B-B14F-4D97-AF65-F5344CB8AC3E}">
        <p14:creationId xmlns:p14="http://schemas.microsoft.com/office/powerpoint/2010/main" val="167743276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fficher l'image d'origin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7530" y="2996953"/>
            <a:ext cx="1867648" cy="1720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Afficher l'image d'origin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6160" y="2420889"/>
            <a:ext cx="3203848" cy="2612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Afficher l'image d'origine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1665" y="260648"/>
            <a:ext cx="2931095" cy="1951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Afficher l'image d'origine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9936" y="4971181"/>
            <a:ext cx="1296144" cy="830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Diagramme 7"/>
          <p:cNvGraphicFramePr/>
          <p:nvPr/>
        </p:nvGraphicFramePr>
        <p:xfrm>
          <a:off x="1847529" y="188640"/>
          <a:ext cx="8640959" cy="61206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1309801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66" name="Picture 18" descr="Afficher l'image d'origin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4619" y="3565356"/>
            <a:ext cx="2048014" cy="11736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Afficher l'image d'origin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9662" y="1799879"/>
            <a:ext cx="1585259" cy="15852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 descr="Afficher l'image d'origine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4567" y="5049654"/>
            <a:ext cx="1625867" cy="12600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4" descr="Afficher l'image d'origine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0806" y="337139"/>
            <a:ext cx="1673896" cy="1181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0" descr="Afficher l'image d'origine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4232" y="4527611"/>
            <a:ext cx="1867648" cy="1720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Afficher l'image d'origin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9200" y="1889408"/>
            <a:ext cx="3203848" cy="2612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8" descr="Afficher l'image d'origin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1954" y="337138"/>
            <a:ext cx="2931095" cy="1951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 descr="Afficher l'image d'origin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0669" y="2288149"/>
            <a:ext cx="2554415" cy="2554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Flèche gauche 1"/>
          <p:cNvSpPr/>
          <p:nvPr/>
        </p:nvSpPr>
        <p:spPr>
          <a:xfrm>
            <a:off x="3962632" y="3195895"/>
            <a:ext cx="1224136" cy="677715"/>
          </a:xfrm>
          <a:prstGeom prst="left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4" name="Flèche gauche 13"/>
          <p:cNvSpPr/>
          <p:nvPr/>
        </p:nvSpPr>
        <p:spPr>
          <a:xfrm rot="20136606">
            <a:off x="3936282" y="4642108"/>
            <a:ext cx="1224136" cy="677715"/>
          </a:xfrm>
          <a:prstGeom prst="left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5" name="Flèche gauche 14"/>
          <p:cNvSpPr/>
          <p:nvPr/>
        </p:nvSpPr>
        <p:spPr>
          <a:xfrm rot="1053438">
            <a:off x="3973361" y="1837711"/>
            <a:ext cx="1224136" cy="677715"/>
          </a:xfrm>
          <a:prstGeom prst="left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6" name="Flèche gauche 15"/>
          <p:cNvSpPr/>
          <p:nvPr/>
        </p:nvSpPr>
        <p:spPr>
          <a:xfrm>
            <a:off x="6970045" y="3195894"/>
            <a:ext cx="1224136" cy="677715"/>
          </a:xfrm>
          <a:prstGeom prst="left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7" name="Flèche gauche 16"/>
          <p:cNvSpPr/>
          <p:nvPr/>
        </p:nvSpPr>
        <p:spPr>
          <a:xfrm rot="1679122">
            <a:off x="6912043" y="4548381"/>
            <a:ext cx="1224136" cy="677715"/>
          </a:xfrm>
          <a:prstGeom prst="left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8" name="Flèche gauche 17"/>
          <p:cNvSpPr/>
          <p:nvPr/>
        </p:nvSpPr>
        <p:spPr>
          <a:xfrm rot="20296010">
            <a:off x="6909988" y="1805505"/>
            <a:ext cx="1224136" cy="677715"/>
          </a:xfrm>
          <a:prstGeom prst="left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5" name="Rectangle à coins arrondis 4"/>
          <p:cNvSpPr/>
          <p:nvPr/>
        </p:nvSpPr>
        <p:spPr>
          <a:xfrm>
            <a:off x="4016140" y="188641"/>
            <a:ext cx="4175381" cy="878917"/>
          </a:xfrm>
          <a:prstGeom prst="roundRect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b="1" dirty="0"/>
              <a:t>Emplois et Ressources</a:t>
            </a:r>
          </a:p>
        </p:txBody>
      </p:sp>
      <p:sp>
        <p:nvSpPr>
          <p:cNvPr id="6" name="Ellipse 5"/>
          <p:cNvSpPr/>
          <p:nvPr/>
        </p:nvSpPr>
        <p:spPr>
          <a:xfrm>
            <a:off x="2196591" y="1518910"/>
            <a:ext cx="1571399" cy="32483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Immos</a:t>
            </a:r>
          </a:p>
        </p:txBody>
      </p:sp>
      <p:sp>
        <p:nvSpPr>
          <p:cNvPr id="23" name="Ellipse 22"/>
          <p:cNvSpPr/>
          <p:nvPr/>
        </p:nvSpPr>
        <p:spPr>
          <a:xfrm>
            <a:off x="2253377" y="4724821"/>
            <a:ext cx="1571399" cy="32483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Clients</a:t>
            </a:r>
          </a:p>
        </p:txBody>
      </p:sp>
      <p:sp>
        <p:nvSpPr>
          <p:cNvPr id="24" name="Ellipse 23"/>
          <p:cNvSpPr/>
          <p:nvPr/>
        </p:nvSpPr>
        <p:spPr>
          <a:xfrm>
            <a:off x="2228928" y="3209919"/>
            <a:ext cx="1571399" cy="32483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Stocks</a:t>
            </a:r>
          </a:p>
        </p:txBody>
      </p:sp>
      <p:sp>
        <p:nvSpPr>
          <p:cNvPr id="25" name="Ellipse 24"/>
          <p:cNvSpPr/>
          <p:nvPr/>
        </p:nvSpPr>
        <p:spPr>
          <a:xfrm>
            <a:off x="2228927" y="6309700"/>
            <a:ext cx="1571399" cy="32483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Caisse</a:t>
            </a:r>
          </a:p>
        </p:txBody>
      </p:sp>
      <p:sp>
        <p:nvSpPr>
          <p:cNvPr id="26" name="Ellipse 25"/>
          <p:cNvSpPr/>
          <p:nvPr/>
        </p:nvSpPr>
        <p:spPr>
          <a:xfrm>
            <a:off x="8381800" y="6137268"/>
            <a:ext cx="1571399" cy="32483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Dettes</a:t>
            </a:r>
          </a:p>
        </p:txBody>
      </p:sp>
      <p:sp>
        <p:nvSpPr>
          <p:cNvPr id="27" name="Ellipse 26"/>
          <p:cNvSpPr/>
          <p:nvPr/>
        </p:nvSpPr>
        <p:spPr>
          <a:xfrm>
            <a:off x="8381801" y="4094766"/>
            <a:ext cx="1571399" cy="32483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Résultat</a:t>
            </a:r>
          </a:p>
        </p:txBody>
      </p:sp>
      <p:sp>
        <p:nvSpPr>
          <p:cNvPr id="28" name="Ellipse 27"/>
          <p:cNvSpPr/>
          <p:nvPr/>
        </p:nvSpPr>
        <p:spPr>
          <a:xfrm>
            <a:off x="8381801" y="2144361"/>
            <a:ext cx="1571399" cy="32483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Capital</a:t>
            </a:r>
          </a:p>
        </p:txBody>
      </p:sp>
    </p:spTree>
    <p:extLst>
      <p:ext uri="{BB962C8B-B14F-4D97-AF65-F5344CB8AC3E}">
        <p14:creationId xmlns:p14="http://schemas.microsoft.com/office/powerpoint/2010/main" val="204913026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au 1"/>
          <p:cNvGraphicFramePr>
            <a:graphicFrameLocks noGrp="1"/>
          </p:cNvGraphicFramePr>
          <p:nvPr/>
        </p:nvGraphicFramePr>
        <p:xfrm>
          <a:off x="2063552" y="1196752"/>
          <a:ext cx="8208912" cy="2376264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42484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604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32904">
                <a:tc>
                  <a:txBody>
                    <a:bodyPr/>
                    <a:lstStyle/>
                    <a:p>
                      <a:pPr algn="ctr"/>
                      <a:r>
                        <a:rPr lang="fr-FR" sz="2000" b="1" dirty="0"/>
                        <a:t>Acti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 b="1" dirty="0"/>
                        <a:t>Passi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43756">
                <a:tc>
                  <a:txBody>
                    <a:bodyPr/>
                    <a:lstStyle/>
                    <a:p>
                      <a:r>
                        <a:rPr lang="fr-FR" b="1" dirty="0"/>
                        <a:t>Liste des biens que l’entreprise possède :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fr-FR" b="1" dirty="0"/>
                        <a:t>Terrain, construction, matériel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fr-FR" b="1" dirty="0"/>
                        <a:t>Stocks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fr-FR" b="1" dirty="0"/>
                        <a:t>Trésoreri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Tx/>
                        <a:buNone/>
                      </a:pPr>
                      <a:r>
                        <a:rPr lang="fr-FR" b="1" dirty="0"/>
                        <a:t>Liste des dette de l’entreprise :</a:t>
                      </a:r>
                      <a:r>
                        <a:rPr lang="fr-FR" b="1" baseline="0" dirty="0"/>
                        <a:t> </a:t>
                      </a:r>
                    </a:p>
                    <a:p>
                      <a:pPr marL="285750" indent="-285750" algn="l" defTabSz="914400" rtl="0" eaLnBrk="1" latinLnBrk="0" hangingPunct="1">
                        <a:buFontTx/>
                        <a:buChar char="-"/>
                      </a:pPr>
                      <a:r>
                        <a:rPr lang="fr-FR" sz="1800" b="1" kern="1200" dirty="0"/>
                        <a:t>Dettes vis-à-vis des actionnaires</a:t>
                      </a:r>
                    </a:p>
                    <a:p>
                      <a:pPr marL="285750" indent="-285750" algn="l" defTabSz="914400" rtl="0" eaLnBrk="1" latinLnBrk="0" hangingPunct="1">
                        <a:buFontTx/>
                        <a:buChar char="-"/>
                      </a:pPr>
                      <a:r>
                        <a:rPr lang="fr-FR" sz="1800" b="1" kern="1200" dirty="0"/>
                        <a:t>Dettes vis-à-vis des tiers</a:t>
                      </a:r>
                      <a:endParaRPr lang="fr-FR" sz="1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9604">
                <a:tc>
                  <a:txBody>
                    <a:bodyPr/>
                    <a:lstStyle/>
                    <a:p>
                      <a:pPr algn="ctr"/>
                      <a:r>
                        <a:rPr lang="fr-FR" b="1" dirty="0"/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b="1" dirty="0"/>
                        <a:t>Tot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8" name="Ellipse 7"/>
          <p:cNvSpPr/>
          <p:nvPr/>
        </p:nvSpPr>
        <p:spPr>
          <a:xfrm>
            <a:off x="4943872" y="476672"/>
            <a:ext cx="2736304" cy="576064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/>
              <a:t>Bilan</a:t>
            </a:r>
          </a:p>
        </p:txBody>
      </p:sp>
      <p:graphicFrame>
        <p:nvGraphicFramePr>
          <p:cNvPr id="10" name="Diagramme 9"/>
          <p:cNvGraphicFramePr/>
          <p:nvPr/>
        </p:nvGraphicFramePr>
        <p:xfrm>
          <a:off x="1847528" y="4149080"/>
          <a:ext cx="8568952" cy="20162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17451749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07E773EB-1EC1-4E49-9DE2-E6F4604972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10391"/>
            <a:ext cx="12192000" cy="19430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5455007-8AF7-4CFF-8B0D-381E697B67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378" y="320675"/>
            <a:ext cx="11407487" cy="1325563"/>
          </a:xfrm>
        </p:spPr>
        <p:txBody>
          <a:bodyPr>
            <a:normAutofit/>
          </a:bodyPr>
          <a:lstStyle/>
          <a:p>
            <a:pPr lvl="0"/>
            <a:r>
              <a:rPr lang="fr-FR" sz="5400" dirty="0"/>
              <a:t>Présentation du Bilan </a:t>
            </a:r>
          </a:p>
        </p:txBody>
      </p:sp>
      <p:graphicFrame>
        <p:nvGraphicFramePr>
          <p:cNvPr id="5" name="Espace réservé du contenu 2">
            <a:extLst>
              <a:ext uri="{FF2B5EF4-FFF2-40B4-BE49-F238E27FC236}">
                <a16:creationId xmlns:a16="http://schemas.microsoft.com/office/drawing/2014/main" id="{0C899C7D-CFDA-4D32-B2E9-07B40C3BB1B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94999104"/>
              </p:ext>
            </p:extLst>
          </p:nvPr>
        </p:nvGraphicFramePr>
        <p:xfrm>
          <a:off x="391379" y="1976293"/>
          <a:ext cx="11407487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64995868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642374E-6CC0-4655-B9AB-1F03215224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62339"/>
          </a:xfrm>
        </p:spPr>
        <p:txBody>
          <a:bodyPr>
            <a:normAutofit/>
          </a:bodyPr>
          <a:lstStyle/>
          <a:p>
            <a:r>
              <a:rPr lang="fr-FR" dirty="0"/>
              <a:t>Présentation en tableau =&gt; Bilan fonctionnel?</a:t>
            </a:r>
          </a:p>
        </p:txBody>
      </p:sp>
      <p:graphicFrame>
        <p:nvGraphicFramePr>
          <p:cNvPr id="6" name="Espace réservé du contenu 5">
            <a:extLst>
              <a:ext uri="{FF2B5EF4-FFF2-40B4-BE49-F238E27FC236}">
                <a16:creationId xmlns:a16="http://schemas.microsoft.com/office/drawing/2014/main" id="{A382068A-085B-4EB0-86C0-4EB1EB863BD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81061823"/>
              </p:ext>
            </p:extLst>
          </p:nvPr>
        </p:nvGraphicFramePr>
        <p:xfrm>
          <a:off x="205272" y="1127464"/>
          <a:ext cx="11747240" cy="577890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553573">
                  <a:extLst>
                    <a:ext uri="{9D8B030D-6E8A-4147-A177-3AD203B41FA5}">
                      <a16:colId xmlns:a16="http://schemas.microsoft.com/office/drawing/2014/main" val="1773474567"/>
                    </a:ext>
                  </a:extLst>
                </a:gridCol>
                <a:gridCol w="1420679">
                  <a:extLst>
                    <a:ext uri="{9D8B030D-6E8A-4147-A177-3AD203B41FA5}">
                      <a16:colId xmlns:a16="http://schemas.microsoft.com/office/drawing/2014/main" val="2049740156"/>
                    </a:ext>
                  </a:extLst>
                </a:gridCol>
                <a:gridCol w="4352309">
                  <a:extLst>
                    <a:ext uri="{9D8B030D-6E8A-4147-A177-3AD203B41FA5}">
                      <a16:colId xmlns:a16="http://schemas.microsoft.com/office/drawing/2014/main" val="3503965139"/>
                    </a:ext>
                  </a:extLst>
                </a:gridCol>
                <a:gridCol w="1420679">
                  <a:extLst>
                    <a:ext uri="{9D8B030D-6E8A-4147-A177-3AD203B41FA5}">
                      <a16:colId xmlns:a16="http://schemas.microsoft.com/office/drawing/2014/main" val="1103127900"/>
                    </a:ext>
                  </a:extLst>
                </a:gridCol>
              </a:tblGrid>
              <a:tr h="649985">
                <a:tc>
                  <a:txBody>
                    <a:bodyPr/>
                    <a:lstStyle/>
                    <a:p>
                      <a:pPr algn="ctr"/>
                      <a:r>
                        <a:rPr lang="fr-FR" sz="1800" baseline="0" dirty="0">
                          <a:effectLst/>
                        </a:rPr>
                        <a:t>Actif</a:t>
                      </a:r>
                      <a:endParaRPr lang="fr-FR" sz="1800" baseline="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aseline="0" dirty="0">
                          <a:effectLst/>
                        </a:rPr>
                        <a:t>Montant</a:t>
                      </a:r>
                      <a:endParaRPr lang="fr-FR" sz="1800" baseline="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aseline="0">
                          <a:effectLst/>
                        </a:rPr>
                        <a:t>Passif</a:t>
                      </a:r>
                      <a:endParaRPr lang="fr-FR" sz="1800" baseline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aseline="0">
                          <a:effectLst/>
                        </a:rPr>
                        <a:t>Montant</a:t>
                      </a:r>
                      <a:endParaRPr lang="fr-FR" sz="1800" baseline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2158402805"/>
                  </a:ext>
                </a:extLst>
              </a:tr>
              <a:tr h="2117730">
                <a:tc>
                  <a:txBody>
                    <a:bodyPr/>
                    <a:lstStyle/>
                    <a:p>
                      <a:pPr algn="just"/>
                      <a:br>
                        <a:rPr lang="fr-FR" sz="1800" baseline="0">
                          <a:effectLst/>
                        </a:rPr>
                      </a:br>
                      <a:r>
                        <a:rPr lang="fr-FR" sz="1800" baseline="0">
                          <a:effectLst/>
                        </a:rPr>
                        <a:t>Actif immobilisé</a:t>
                      </a:r>
                    </a:p>
                    <a:p>
                      <a:pPr algn="just"/>
                      <a:r>
                        <a:rPr lang="fr-FR" sz="1800" baseline="0">
                          <a:effectLst/>
                        </a:rPr>
                        <a:t>   Immobilisations incorporelles</a:t>
                      </a:r>
                    </a:p>
                    <a:p>
                      <a:pPr algn="just"/>
                      <a:r>
                        <a:rPr lang="fr-FR" sz="1800" baseline="0">
                          <a:effectLst/>
                        </a:rPr>
                        <a:t>   Immobilisations corporelles</a:t>
                      </a:r>
                    </a:p>
                    <a:p>
                      <a:pPr algn="just"/>
                      <a:r>
                        <a:rPr lang="fr-FR" sz="1800" baseline="0">
                          <a:effectLst/>
                        </a:rPr>
                        <a:t>   Immobilisations financières</a:t>
                      </a:r>
                    </a:p>
                    <a:p>
                      <a:pPr algn="just"/>
                      <a:r>
                        <a:rPr lang="fr-FR" sz="1800" baseline="0">
                          <a:effectLst/>
                        </a:rPr>
                        <a:t> </a:t>
                      </a:r>
                    </a:p>
                    <a:p>
                      <a:pPr algn="r"/>
                      <a:r>
                        <a:rPr lang="fr-FR" sz="1800" baseline="0">
                          <a:effectLst/>
                        </a:rPr>
                        <a:t>I) Total actif immobilisé</a:t>
                      </a:r>
                      <a:endParaRPr lang="fr-FR" sz="1800" baseline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800" baseline="0" dirty="0">
                          <a:effectLst/>
                        </a:rPr>
                        <a:t> </a:t>
                      </a:r>
                      <a:endParaRPr lang="fr-FR" sz="1800" baseline="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800" baseline="0" dirty="0">
                          <a:effectLst/>
                        </a:rPr>
                        <a:t> </a:t>
                      </a:r>
                    </a:p>
                    <a:p>
                      <a:pPr algn="just"/>
                      <a:r>
                        <a:rPr lang="fr-FR" sz="1800" baseline="0" dirty="0">
                          <a:effectLst/>
                        </a:rPr>
                        <a:t>Capitaux propres</a:t>
                      </a:r>
                    </a:p>
                    <a:p>
                      <a:pPr algn="just"/>
                      <a:r>
                        <a:rPr lang="fr-FR" sz="1800" baseline="0" dirty="0">
                          <a:effectLst/>
                        </a:rPr>
                        <a:t>   Capital</a:t>
                      </a:r>
                    </a:p>
                    <a:p>
                      <a:pPr algn="just"/>
                      <a:r>
                        <a:rPr lang="fr-FR" sz="1800" baseline="0" dirty="0">
                          <a:effectLst/>
                        </a:rPr>
                        <a:t>   Réserves</a:t>
                      </a:r>
                    </a:p>
                    <a:p>
                      <a:pPr algn="just"/>
                      <a:r>
                        <a:rPr lang="fr-FR" sz="1800" baseline="0" dirty="0">
                          <a:effectLst/>
                        </a:rPr>
                        <a:t>   Résultat de l'exercice (</a:t>
                      </a:r>
                      <a:r>
                        <a:rPr lang="fr-FR" sz="1800" baseline="0" dirty="0">
                          <a:effectLst/>
                          <a:sym typeface="Symbol" panose="05050102010706020507" pitchFamily="18" charset="2"/>
                        </a:rPr>
                        <a:t></a:t>
                      </a:r>
                      <a:r>
                        <a:rPr lang="fr-FR" sz="1800" baseline="0" dirty="0">
                          <a:effectLst/>
                        </a:rPr>
                        <a:t>)</a:t>
                      </a:r>
                    </a:p>
                    <a:p>
                      <a:pPr algn="just"/>
                      <a:r>
                        <a:rPr lang="fr-FR" sz="1800" baseline="0" dirty="0">
                          <a:effectLst/>
                        </a:rPr>
                        <a:t> </a:t>
                      </a:r>
                    </a:p>
                    <a:p>
                      <a:pPr algn="r"/>
                      <a:r>
                        <a:rPr lang="fr-FR" sz="1800" baseline="0" dirty="0">
                          <a:effectLst/>
                        </a:rPr>
                        <a:t>I) Total capitaux propres</a:t>
                      </a:r>
                    </a:p>
                    <a:p>
                      <a:pPr algn="just"/>
                      <a:r>
                        <a:rPr lang="fr-FR" sz="1800" baseline="0" dirty="0">
                          <a:effectLst/>
                        </a:rPr>
                        <a:t> </a:t>
                      </a:r>
                      <a:endParaRPr lang="fr-FR" sz="1800" baseline="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800" baseline="0">
                          <a:effectLst/>
                        </a:rPr>
                        <a:t> </a:t>
                      </a:r>
                      <a:endParaRPr lang="fr-FR" sz="1800" baseline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extLst>
                  <a:ext uri="{0D108BD9-81ED-4DB2-BD59-A6C34878D82A}">
                    <a16:rowId xmlns:a16="http://schemas.microsoft.com/office/drawing/2014/main" val="1234339158"/>
                  </a:ext>
                </a:extLst>
              </a:tr>
              <a:tr h="2382446">
                <a:tc>
                  <a:txBody>
                    <a:bodyPr/>
                    <a:lstStyle/>
                    <a:p>
                      <a:pPr algn="just"/>
                      <a:r>
                        <a:rPr lang="fr-FR" sz="1800" baseline="0">
                          <a:effectLst/>
                        </a:rPr>
                        <a:t> </a:t>
                      </a:r>
                    </a:p>
                    <a:p>
                      <a:pPr algn="just"/>
                      <a:r>
                        <a:rPr lang="fr-FR" sz="1800" baseline="0">
                          <a:effectLst/>
                        </a:rPr>
                        <a:t>Actif circulant</a:t>
                      </a:r>
                    </a:p>
                    <a:p>
                      <a:pPr algn="just"/>
                      <a:r>
                        <a:rPr lang="fr-FR" sz="1800" baseline="0">
                          <a:effectLst/>
                        </a:rPr>
                        <a:t>   Stocks</a:t>
                      </a:r>
                    </a:p>
                    <a:p>
                      <a:pPr algn="just"/>
                      <a:r>
                        <a:rPr lang="fr-FR" sz="1800" baseline="0">
                          <a:effectLst/>
                        </a:rPr>
                        <a:t>   Créances clients</a:t>
                      </a:r>
                    </a:p>
                    <a:p>
                      <a:pPr algn="just"/>
                      <a:r>
                        <a:rPr lang="fr-FR" sz="1800" baseline="0">
                          <a:effectLst/>
                        </a:rPr>
                        <a:t>   Créances sur autres tiers</a:t>
                      </a:r>
                    </a:p>
                    <a:p>
                      <a:pPr algn="just"/>
                      <a:r>
                        <a:rPr lang="fr-FR" sz="1800" baseline="0">
                          <a:effectLst/>
                        </a:rPr>
                        <a:t>   Banque, caisse</a:t>
                      </a:r>
                    </a:p>
                    <a:p>
                      <a:pPr algn="just"/>
                      <a:r>
                        <a:rPr lang="fr-FR" sz="1800" baseline="0">
                          <a:effectLst/>
                        </a:rPr>
                        <a:t> </a:t>
                      </a:r>
                    </a:p>
                    <a:p>
                      <a:pPr algn="r"/>
                      <a:r>
                        <a:rPr lang="fr-FR" sz="1800" baseline="0">
                          <a:effectLst/>
                        </a:rPr>
                        <a:t>II) Total actif circulant</a:t>
                      </a:r>
                    </a:p>
                    <a:p>
                      <a:pPr algn="just"/>
                      <a:r>
                        <a:rPr lang="fr-FR" sz="1800" baseline="0">
                          <a:effectLst/>
                        </a:rPr>
                        <a:t> </a:t>
                      </a:r>
                      <a:endParaRPr lang="fr-FR" sz="1800" baseline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800" baseline="0">
                          <a:effectLst/>
                        </a:rPr>
                        <a:t> </a:t>
                      </a:r>
                      <a:endParaRPr lang="fr-FR" sz="1800" baseline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800" baseline="0" dirty="0">
                          <a:effectLst/>
                        </a:rPr>
                        <a:t> </a:t>
                      </a:r>
                    </a:p>
                    <a:p>
                      <a:pPr algn="just"/>
                      <a:r>
                        <a:rPr lang="fr-FR" sz="1800" baseline="0" dirty="0">
                          <a:effectLst/>
                        </a:rPr>
                        <a:t>Dettes</a:t>
                      </a:r>
                    </a:p>
                    <a:p>
                      <a:pPr algn="just"/>
                      <a:r>
                        <a:rPr lang="fr-FR" sz="1800" baseline="0" dirty="0">
                          <a:effectLst/>
                        </a:rPr>
                        <a:t>   Emprunts</a:t>
                      </a:r>
                    </a:p>
                    <a:p>
                      <a:pPr algn="just"/>
                      <a:r>
                        <a:rPr lang="fr-FR" sz="1800" baseline="0" dirty="0">
                          <a:effectLst/>
                        </a:rPr>
                        <a:t>   Dettes fournisseurs</a:t>
                      </a:r>
                    </a:p>
                    <a:p>
                      <a:pPr algn="just"/>
                      <a:r>
                        <a:rPr lang="fr-FR" sz="1800" baseline="0" dirty="0">
                          <a:effectLst/>
                        </a:rPr>
                        <a:t>   Dettes envers autres tiers</a:t>
                      </a:r>
                    </a:p>
                    <a:p>
                      <a:pPr algn="just"/>
                      <a:r>
                        <a:rPr lang="fr-FR" sz="1800" baseline="0" dirty="0">
                          <a:effectLst/>
                        </a:rPr>
                        <a:t> </a:t>
                      </a:r>
                    </a:p>
                    <a:p>
                      <a:pPr algn="just"/>
                      <a:r>
                        <a:rPr lang="fr-FR" sz="1800" baseline="0" dirty="0">
                          <a:effectLst/>
                        </a:rPr>
                        <a:t> </a:t>
                      </a:r>
                    </a:p>
                    <a:p>
                      <a:pPr algn="r"/>
                      <a:r>
                        <a:rPr lang="fr-FR" sz="1800" baseline="0" dirty="0">
                          <a:effectLst/>
                        </a:rPr>
                        <a:t>II) Total dettes</a:t>
                      </a:r>
                      <a:endParaRPr lang="fr-FR" sz="1800" baseline="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800" baseline="0" dirty="0">
                          <a:effectLst/>
                        </a:rPr>
                        <a:t> </a:t>
                      </a:r>
                      <a:endParaRPr lang="fr-FR" sz="1800" baseline="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/>
                </a:tc>
                <a:extLst>
                  <a:ext uri="{0D108BD9-81ED-4DB2-BD59-A6C34878D82A}">
                    <a16:rowId xmlns:a16="http://schemas.microsoft.com/office/drawing/2014/main" val="603536627"/>
                  </a:ext>
                </a:extLst>
              </a:tr>
              <a:tr h="465482">
                <a:tc>
                  <a:txBody>
                    <a:bodyPr/>
                    <a:lstStyle/>
                    <a:p>
                      <a:pPr algn="r"/>
                      <a:r>
                        <a:rPr lang="fr-FR" sz="1800" baseline="0">
                          <a:effectLst/>
                        </a:rPr>
                        <a:t>Total général (III) = I + II</a:t>
                      </a:r>
                      <a:endParaRPr lang="fr-FR" sz="1800" baseline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800" baseline="0">
                          <a:effectLst/>
                        </a:rPr>
                        <a:t> </a:t>
                      </a:r>
                      <a:endParaRPr lang="fr-FR" sz="1800" baseline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800" baseline="0">
                          <a:effectLst/>
                        </a:rPr>
                        <a:t>Total général (III) = I + II</a:t>
                      </a:r>
                      <a:endParaRPr lang="fr-FR" sz="1800" baseline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800" baseline="0" dirty="0">
                          <a:effectLst/>
                        </a:rPr>
                        <a:t> </a:t>
                      </a:r>
                      <a:endParaRPr lang="fr-FR" sz="1800" baseline="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41977299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0969473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7658FEE6-1FE3-4898-8C0C-C984E96DB93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47276113"/>
              </p:ext>
            </p:extLst>
          </p:nvPr>
        </p:nvGraphicFramePr>
        <p:xfrm>
          <a:off x="81377" y="142043"/>
          <a:ext cx="12029246" cy="6516209"/>
        </p:xfrm>
        <a:graphic>
          <a:graphicData uri="http://schemas.openxmlformats.org/drawingml/2006/table">
            <a:tbl>
              <a:tblPr/>
              <a:tblGrid>
                <a:gridCol w="4168971">
                  <a:extLst>
                    <a:ext uri="{9D8B030D-6E8A-4147-A177-3AD203B41FA5}">
                      <a16:colId xmlns:a16="http://schemas.microsoft.com/office/drawing/2014/main" val="852968268"/>
                    </a:ext>
                  </a:extLst>
                </a:gridCol>
                <a:gridCol w="978989">
                  <a:extLst>
                    <a:ext uri="{9D8B030D-6E8A-4147-A177-3AD203B41FA5}">
                      <a16:colId xmlns:a16="http://schemas.microsoft.com/office/drawing/2014/main" val="1650361451"/>
                    </a:ext>
                  </a:extLst>
                </a:gridCol>
                <a:gridCol w="1304133">
                  <a:extLst>
                    <a:ext uri="{9D8B030D-6E8A-4147-A177-3AD203B41FA5}">
                      <a16:colId xmlns:a16="http://schemas.microsoft.com/office/drawing/2014/main" val="670927116"/>
                    </a:ext>
                  </a:extLst>
                </a:gridCol>
                <a:gridCol w="571077">
                  <a:extLst>
                    <a:ext uri="{9D8B030D-6E8A-4147-A177-3AD203B41FA5}">
                      <a16:colId xmlns:a16="http://schemas.microsoft.com/office/drawing/2014/main" val="4166117847"/>
                    </a:ext>
                  </a:extLst>
                </a:gridCol>
                <a:gridCol w="4079113">
                  <a:extLst>
                    <a:ext uri="{9D8B030D-6E8A-4147-A177-3AD203B41FA5}">
                      <a16:colId xmlns:a16="http://schemas.microsoft.com/office/drawing/2014/main" val="1735867796"/>
                    </a:ext>
                  </a:extLst>
                </a:gridCol>
                <a:gridCol w="926963">
                  <a:extLst>
                    <a:ext uri="{9D8B030D-6E8A-4147-A177-3AD203B41FA5}">
                      <a16:colId xmlns:a16="http://schemas.microsoft.com/office/drawing/2014/main" val="4098035717"/>
                    </a:ext>
                  </a:extLst>
                </a:gridCol>
              </a:tblGrid>
              <a:tr h="353358">
                <a:tc>
                  <a:txBody>
                    <a:bodyPr/>
                    <a:lstStyle/>
                    <a:p>
                      <a:pPr algn="ctr"/>
                      <a:r>
                        <a:rPr lang="fr-FR" sz="1500" b="1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ctif</a:t>
                      </a:r>
                      <a:endParaRPr lang="fr-FR" sz="1500" baseline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fr-FR" sz="1500" b="1" baseline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xercice N</a:t>
                      </a:r>
                      <a:endParaRPr lang="fr-FR" sz="1500" baseline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500" b="1" baseline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assif</a:t>
                      </a:r>
                      <a:endParaRPr lang="fr-FR" sz="1500" baseline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500" b="1" baseline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</a:t>
                      </a:r>
                      <a:endParaRPr lang="fr-FR" sz="1500" baseline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8843503"/>
                  </a:ext>
                </a:extLst>
              </a:tr>
              <a:tr h="418237">
                <a:tc>
                  <a:txBody>
                    <a:bodyPr/>
                    <a:lstStyle/>
                    <a:p>
                      <a:pPr algn="just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rut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ADP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500" baseline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et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500" baseline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500" baseline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33599863"/>
                  </a:ext>
                </a:extLst>
              </a:tr>
              <a:tr h="4133169">
                <a:tc rowSpan="3">
                  <a:txBody>
                    <a:bodyPr/>
                    <a:lstStyle/>
                    <a:p>
                      <a:pPr algn="just"/>
                      <a:r>
                        <a:rPr lang="fr-FR" sz="1500" b="1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500" baseline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1500" b="1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ctif immobilisé (classe 2)</a:t>
                      </a:r>
                      <a:endParaRPr lang="fr-FR" sz="1500" baseline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1500" b="1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500" baseline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1500" b="1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mmobilisations incorporelles :</a:t>
                      </a:r>
                      <a:endParaRPr lang="fr-FR" sz="1500" baseline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rais d'établissement </a:t>
                      </a:r>
                    </a:p>
                    <a:p>
                      <a:pPr algn="just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rais de recherche/développement </a:t>
                      </a:r>
                    </a:p>
                    <a:p>
                      <a:pPr algn="just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rais de concessions, brevets, licence </a:t>
                      </a:r>
                    </a:p>
                    <a:p>
                      <a:pPr algn="just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Fonds commercial </a:t>
                      </a:r>
                    </a:p>
                    <a:p>
                      <a:pPr algn="just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fr-FR" sz="1500" b="1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mmobilisations corporelles :</a:t>
                      </a:r>
                      <a:endParaRPr lang="fr-FR" sz="1500" baseline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errains </a:t>
                      </a:r>
                    </a:p>
                    <a:p>
                      <a:pPr algn="just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onstructions </a:t>
                      </a:r>
                    </a:p>
                    <a:p>
                      <a:pPr algn="just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nstallations Techniques, Matériel et Outillage</a:t>
                      </a:r>
                    </a:p>
                    <a:p>
                      <a:pPr algn="just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ndustriel (I.T.M.O.I)  </a:t>
                      </a:r>
                    </a:p>
                    <a:p>
                      <a:pPr algn="just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utres immobilisations corporelles </a:t>
                      </a:r>
                    </a:p>
                    <a:p>
                      <a:pPr algn="just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fr-FR" sz="1500" b="1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mmobilisations financières : </a:t>
                      </a:r>
                      <a:endParaRPr lang="fr-FR" sz="1500" baseline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articipations </a:t>
                      </a:r>
                    </a:p>
                    <a:p>
                      <a:pPr algn="just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itres immobilisés</a:t>
                      </a:r>
                    </a:p>
                    <a:p>
                      <a:pPr algn="just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itres immobilisés de l'activité de portefeuille </a:t>
                      </a:r>
                    </a:p>
                    <a:p>
                      <a:pPr algn="just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êts </a:t>
                      </a:r>
                    </a:p>
                    <a:p>
                      <a:pPr algn="just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épôts et cautionnements versés 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1</a:t>
                      </a:r>
                    </a:p>
                    <a:p>
                      <a:pPr algn="ctr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3</a:t>
                      </a:r>
                    </a:p>
                    <a:p>
                      <a:pPr algn="ctr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5</a:t>
                      </a:r>
                    </a:p>
                    <a:p>
                      <a:pPr algn="ctr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7</a:t>
                      </a:r>
                    </a:p>
                    <a:p>
                      <a:pPr algn="ctr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1</a:t>
                      </a:r>
                    </a:p>
                    <a:p>
                      <a:pPr algn="ctr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3</a:t>
                      </a:r>
                    </a:p>
                    <a:p>
                      <a:pPr algn="ctr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5</a:t>
                      </a:r>
                    </a:p>
                    <a:p>
                      <a:pPr algn="ctr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8</a:t>
                      </a:r>
                    </a:p>
                    <a:p>
                      <a:pPr algn="ctr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6</a:t>
                      </a:r>
                    </a:p>
                    <a:p>
                      <a:pPr algn="ctr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71/272</a:t>
                      </a:r>
                    </a:p>
                    <a:p>
                      <a:pPr algn="ctr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73</a:t>
                      </a:r>
                    </a:p>
                    <a:p>
                      <a:pPr algn="ctr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74</a:t>
                      </a:r>
                    </a:p>
                    <a:p>
                      <a:pPr algn="ctr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75</a:t>
                      </a:r>
                    </a:p>
                    <a:p>
                      <a:pPr algn="ctr"/>
                      <a:endParaRPr lang="fr-FR" sz="1500" baseline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801</a:t>
                      </a:r>
                    </a:p>
                    <a:p>
                      <a:pPr algn="ctr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803</a:t>
                      </a:r>
                    </a:p>
                    <a:p>
                      <a:pPr algn="ctr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805</a:t>
                      </a:r>
                    </a:p>
                    <a:p>
                      <a:pPr algn="ctr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907</a:t>
                      </a:r>
                    </a:p>
                    <a:p>
                      <a:pPr algn="ctr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911</a:t>
                      </a:r>
                    </a:p>
                    <a:p>
                      <a:pPr algn="ctr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813</a:t>
                      </a:r>
                    </a:p>
                    <a:p>
                      <a:pPr algn="ctr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815</a:t>
                      </a:r>
                    </a:p>
                    <a:p>
                      <a:pPr algn="ctr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818</a:t>
                      </a:r>
                    </a:p>
                    <a:p>
                      <a:pPr algn="ctr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96</a:t>
                      </a:r>
                    </a:p>
                    <a:p>
                      <a:pPr algn="ctr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97</a:t>
                      </a:r>
                    </a:p>
                    <a:p>
                      <a:pPr algn="ctr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just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just"/>
                      <a:r>
                        <a:rPr lang="fr-FR" sz="1500" b="1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apitaux propres (classe 1)</a:t>
                      </a:r>
                      <a:endParaRPr lang="fr-FR" sz="1500" baseline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just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apital </a:t>
                      </a:r>
                    </a:p>
                    <a:p>
                      <a:pPr algn="just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ompte de l'exploitant   (</a:t>
                      </a:r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Symbol" panose="05050102010706020507" pitchFamily="18" charset="2"/>
                        </a:rPr>
                        <a:t></a:t>
                      </a:r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</a:p>
                    <a:p>
                      <a:pPr algn="just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just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éserves</a:t>
                      </a:r>
                    </a:p>
                    <a:p>
                      <a:pPr algn="just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port à  Nouveau  (11) (</a:t>
                      </a:r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Symbol" panose="05050102010706020507" pitchFamily="18" charset="2"/>
                        </a:rPr>
                        <a:t></a:t>
                      </a:r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</a:p>
                    <a:p>
                      <a:pPr algn="just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l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ésultat de l'exercice  (12) (</a:t>
                      </a:r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Symbol" panose="05050102010706020507" pitchFamily="18" charset="2"/>
                        </a:rPr>
                        <a:t></a:t>
                      </a:r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</a:p>
                    <a:p>
                      <a:pPr algn="just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just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ubventions d'investissement (13)</a:t>
                      </a:r>
                    </a:p>
                    <a:p>
                      <a:pPr algn="just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just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visions réglementées (14)</a:t>
                      </a:r>
                    </a:p>
                    <a:p>
                      <a:pPr algn="just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X</a:t>
                      </a:r>
                    </a:p>
                    <a:p>
                      <a:pPr algn="just"/>
                      <a:endParaRPr lang="fr-FR" sz="1500" baseline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1</a:t>
                      </a:r>
                    </a:p>
                    <a:p>
                      <a:pPr algn="just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8 </a:t>
                      </a:r>
                    </a:p>
                    <a:p>
                      <a:pPr algn="just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just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6</a:t>
                      </a:r>
                    </a:p>
                    <a:p>
                      <a:pPr algn="just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 </a:t>
                      </a:r>
                    </a:p>
                    <a:p>
                      <a:pPr algn="just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just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 </a:t>
                      </a:r>
                    </a:p>
                    <a:p>
                      <a:pPr algn="just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just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3</a:t>
                      </a:r>
                    </a:p>
                    <a:p>
                      <a:pPr algn="just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just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</a:t>
                      </a:r>
                    </a:p>
                    <a:p>
                      <a:pPr algn="just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8528378"/>
                  </a:ext>
                </a:extLst>
              </a:tr>
              <a:tr h="597781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500" b="1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) Total capitaux propres</a:t>
                      </a:r>
                      <a:endParaRPr lang="fr-FR" sz="1500" baseline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300"/>
                        </a:spcAft>
                      </a:pPr>
                      <a:r>
                        <a:rPr lang="fr-FR" sz="1500" i="1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fr-FR" sz="1500" baseline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0255347"/>
                  </a:ext>
                </a:extLst>
              </a:tr>
              <a:tr h="727132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1200"/>
                        </a:spcBef>
                        <a:spcAft>
                          <a:spcPts val="300"/>
                        </a:spcAft>
                      </a:pPr>
                      <a:r>
                        <a:rPr lang="fr-FR" sz="1500" i="1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fr-FR" sz="1500" baseline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1500" b="1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visions pour risques et charges (PRC)</a:t>
                      </a:r>
                      <a:endParaRPr lang="fr-FR" sz="1500" baseline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300"/>
                        </a:spcAft>
                      </a:pPr>
                      <a:r>
                        <a:rPr lang="fr-FR" sz="1500" i="1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fr-FR" sz="1500" baseline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15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15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2107855"/>
                  </a:ext>
                </a:extLst>
              </a:tr>
              <a:tr h="286532">
                <a:tc>
                  <a:txBody>
                    <a:bodyPr/>
                    <a:lstStyle/>
                    <a:p>
                      <a:pPr algn="ctr"/>
                      <a:r>
                        <a:rPr lang="fr-FR" sz="1800" b="1" baseline="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) Total actif immobilisé</a:t>
                      </a:r>
                      <a:endParaRPr lang="fr-FR" sz="1800" baseline="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aseline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aseline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aseline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 b="1" baseline="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I) Total PRC</a:t>
                      </a:r>
                      <a:endParaRPr lang="fr-FR" sz="1400" baseline="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800" b="1" baseline="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800" baseline="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25793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025574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C3FB199-37AF-4AEB-91D2-9999734537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918895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Programme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prévisionnel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46D878E7-F5C5-452B-937D-8840816B6ECF}"/>
              </a:ext>
            </a:extLst>
          </p:cNvPr>
          <p:cNvSpPr txBox="1"/>
          <p:nvPr/>
        </p:nvSpPr>
        <p:spPr>
          <a:xfrm>
            <a:off x="2843428" y="6003837"/>
            <a:ext cx="6505071" cy="4054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en-US" sz="1400" dirty="0">
              <a:solidFill>
                <a:prstClr val="white"/>
              </a:solidFill>
              <a:latin typeface="Calibri"/>
            </a:endParaRPr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90A39BD7-E179-4570-8079-E6A295B4926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6463208"/>
              </p:ext>
            </p:extLst>
          </p:nvPr>
        </p:nvGraphicFramePr>
        <p:xfrm>
          <a:off x="410547" y="1193533"/>
          <a:ext cx="11171816" cy="5160900"/>
        </p:xfrm>
        <a:graphic>
          <a:graphicData uri="http://schemas.openxmlformats.org/drawingml/2006/table">
            <a:tbl>
              <a:tblPr firstRow="1" firstCol="1" bandRow="1">
                <a:solidFill>
                  <a:srgbClr val="F2F2F2">
                    <a:alpha val="30196"/>
                  </a:srgbClr>
                </a:solidFill>
              </a:tblPr>
              <a:tblGrid>
                <a:gridCol w="1131458">
                  <a:extLst>
                    <a:ext uri="{9D8B030D-6E8A-4147-A177-3AD203B41FA5}">
                      <a16:colId xmlns:a16="http://schemas.microsoft.com/office/drawing/2014/main" val="421084245"/>
                    </a:ext>
                  </a:extLst>
                </a:gridCol>
                <a:gridCol w="10040358">
                  <a:extLst>
                    <a:ext uri="{9D8B030D-6E8A-4147-A177-3AD203B41FA5}">
                      <a16:colId xmlns:a16="http://schemas.microsoft.com/office/drawing/2014/main" val="3974086313"/>
                    </a:ext>
                  </a:extLst>
                </a:gridCol>
              </a:tblGrid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b="0" cap="none" spc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Séance</a:t>
                      </a:r>
                      <a:endParaRPr lang="fr-FR" sz="1500" b="0" cap="none" spc="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19050" cap="flat" cmpd="sng" algn="ctr">
                      <a:noFill/>
                      <a:prstDash val="soli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</a:lnT>
                    <a:lnB w="38100" cmpd="sng"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b="0" cap="none" spc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Contenu des séances</a:t>
                      </a:r>
                      <a:endParaRPr lang="fr-FR" sz="1500" b="0" cap="none" spc="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</a:lnT>
                    <a:lnB w="38100" cmpd="sng">
                      <a:noFill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4008224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-2-3-4</a:t>
                      </a:r>
                      <a:endParaRPr lang="fr-FR" sz="1500" cap="none" spc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38100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R>
                    <a:lnT w="38100" cmpd="sng">
                      <a:noFill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oncepts et principes de base de la comptabilité – Le PCG – Les différentes classes – LAB -</a:t>
                      </a:r>
                    </a:p>
                  </a:txBody>
                  <a:tcPr marL="123949" marR="71509" marT="95345" marB="95345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L>
                    <a:lnR w="38100" cap="flat" cmpd="sng" algn="ctr">
                      <a:noFill/>
                      <a:prstDash val="solid"/>
                    </a:lnR>
                    <a:lnT w="38100" cmpd="sng">
                      <a:noFill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2013335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5-6</a:t>
                      </a:r>
                      <a:endParaRPr lang="fr-FR" sz="1500" cap="none" spc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a comptabilisation – Les documents comptables – Les normes internationales =&gt; </a:t>
                      </a:r>
                      <a:r>
                        <a:rPr lang="fr-FR" sz="1500" cap="none" spc="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près le bilan</a:t>
                      </a:r>
                    </a:p>
                  </a:txBody>
                  <a:tcPr marL="123949" marR="71509" marT="95345" marB="95345">
                    <a:lnL w="6350" cap="flat" cmpd="sng" algn="ctr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1204828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7-8</a:t>
                      </a:r>
                      <a:endParaRPr lang="fr-FR" sz="1500" cap="none" spc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38100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e compte de résultat - Analyse</a:t>
                      </a:r>
                    </a:p>
                  </a:txBody>
                  <a:tcPr marL="123949" marR="71509" marT="95345" marB="95345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L>
                    <a:lnR w="38100" cap="flat" cmpd="sng" algn="ctr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7725469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9-10</a:t>
                      </a:r>
                      <a:endParaRPr lang="fr-FR" sz="1500" cap="none" spc="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e bilan – Analyse </a:t>
                      </a:r>
                    </a:p>
                  </a:txBody>
                  <a:tcPr marL="123949" marR="71509" marT="95345" marB="95345">
                    <a:lnL w="6350" cap="flat" cmpd="sng" algn="ctr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6166339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1-12</a:t>
                      </a:r>
                      <a:endParaRPr lang="fr-FR" sz="1500" cap="none" spc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38100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e bilan – Les actifs - Les immobilisations – IFRS 16</a:t>
                      </a:r>
                    </a:p>
                  </a:txBody>
                  <a:tcPr marL="123949" marR="71509" marT="95345" marB="95345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L>
                    <a:lnR w="38100" cap="flat" cmpd="sng" algn="ctr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265399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3-14</a:t>
                      </a:r>
                      <a:endParaRPr lang="fr-FR" sz="1500" cap="none" spc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e bilan – Le passif – les capitaux propres – Les provisions</a:t>
                      </a:r>
                    </a:p>
                  </a:txBody>
                  <a:tcPr marL="123949" marR="71509" marT="95345" marB="95345">
                    <a:lnL w="6350" cap="flat" cmpd="sng" algn="ctr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9858747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5-16</a:t>
                      </a:r>
                      <a:endParaRPr lang="fr-FR" sz="1500" cap="none" spc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38100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Le bilan – le passif – Dettes à LT et autres dettes </a:t>
                      </a:r>
                    </a:p>
                  </a:txBody>
                  <a:tcPr marL="123949" marR="71509" marT="95345" marB="95345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L>
                    <a:lnR w="38100" cap="flat" cmpd="sng" algn="ctr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4203615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7-18</a:t>
                      </a:r>
                      <a:endParaRPr lang="fr-FR" sz="1500" cap="none" spc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es écritures d’inventaire</a:t>
                      </a:r>
                    </a:p>
                  </a:txBody>
                  <a:tcPr marL="123949" marR="71509" marT="95345" marB="95345">
                    <a:lnL w="6350" cap="flat" cmpd="sng" algn="ctr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3093419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9-20</a:t>
                      </a:r>
                    </a:p>
                  </a:txBody>
                  <a:tcPr marL="123949" marR="71509" marT="95345" marB="95345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’annexe</a:t>
                      </a:r>
                    </a:p>
                  </a:txBody>
                  <a:tcPr marL="123949" marR="71509" marT="95345" marB="95345">
                    <a:lnL w="6350" cap="flat" cmpd="sng" algn="ctr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796521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1-22</a:t>
                      </a:r>
                    </a:p>
                  </a:txBody>
                  <a:tcPr marL="123949" marR="71509" marT="95345" marB="95345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es points particuliers – La TVA – Affectation du résultat</a:t>
                      </a:r>
                    </a:p>
                    <a:p>
                      <a:pPr algn="just">
                        <a:tabLst>
                          <a:tab pos="3978910" algn="l"/>
                        </a:tabLst>
                      </a:pPr>
                      <a:endParaRPr lang="fr-FR" sz="1500" cap="none" spc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23949" marR="71509" marT="95345" marB="95345">
                    <a:lnL w="6350" cap="flat" cmpd="sng" algn="ctr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48911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169140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7658FEE6-1FE3-4898-8C0C-C984E96DB93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53703437"/>
              </p:ext>
            </p:extLst>
          </p:nvPr>
        </p:nvGraphicFramePr>
        <p:xfrm>
          <a:off x="515717" y="149663"/>
          <a:ext cx="11569603" cy="11965870"/>
        </p:xfrm>
        <a:graphic>
          <a:graphicData uri="http://schemas.openxmlformats.org/drawingml/2006/table">
            <a:tbl>
              <a:tblPr/>
              <a:tblGrid>
                <a:gridCol w="4168971">
                  <a:extLst>
                    <a:ext uri="{9D8B030D-6E8A-4147-A177-3AD203B41FA5}">
                      <a16:colId xmlns:a16="http://schemas.microsoft.com/office/drawing/2014/main" val="852968268"/>
                    </a:ext>
                  </a:extLst>
                </a:gridCol>
                <a:gridCol w="978989">
                  <a:extLst>
                    <a:ext uri="{9D8B030D-6E8A-4147-A177-3AD203B41FA5}">
                      <a16:colId xmlns:a16="http://schemas.microsoft.com/office/drawing/2014/main" val="1650361451"/>
                    </a:ext>
                  </a:extLst>
                </a:gridCol>
                <a:gridCol w="706643">
                  <a:extLst>
                    <a:ext uri="{9D8B030D-6E8A-4147-A177-3AD203B41FA5}">
                      <a16:colId xmlns:a16="http://schemas.microsoft.com/office/drawing/2014/main" val="670927116"/>
                    </a:ext>
                  </a:extLst>
                </a:gridCol>
                <a:gridCol w="381000">
                  <a:extLst>
                    <a:ext uri="{9D8B030D-6E8A-4147-A177-3AD203B41FA5}">
                      <a16:colId xmlns:a16="http://schemas.microsoft.com/office/drawing/2014/main" val="575837330"/>
                    </a:ext>
                  </a:extLst>
                </a:gridCol>
                <a:gridCol w="216490">
                  <a:extLst>
                    <a:ext uri="{9D8B030D-6E8A-4147-A177-3AD203B41FA5}">
                      <a16:colId xmlns:a16="http://schemas.microsoft.com/office/drawing/2014/main" val="2649517282"/>
                    </a:ext>
                  </a:extLst>
                </a:gridCol>
                <a:gridCol w="571077">
                  <a:extLst>
                    <a:ext uri="{9D8B030D-6E8A-4147-A177-3AD203B41FA5}">
                      <a16:colId xmlns:a16="http://schemas.microsoft.com/office/drawing/2014/main" val="4166117847"/>
                    </a:ext>
                  </a:extLst>
                </a:gridCol>
                <a:gridCol w="3670133">
                  <a:extLst>
                    <a:ext uri="{9D8B030D-6E8A-4147-A177-3AD203B41FA5}">
                      <a16:colId xmlns:a16="http://schemas.microsoft.com/office/drawing/2014/main" val="1735867796"/>
                    </a:ext>
                  </a:extLst>
                </a:gridCol>
                <a:gridCol w="408980">
                  <a:extLst>
                    <a:ext uri="{9D8B030D-6E8A-4147-A177-3AD203B41FA5}">
                      <a16:colId xmlns:a16="http://schemas.microsoft.com/office/drawing/2014/main" val="4023470332"/>
                    </a:ext>
                  </a:extLst>
                </a:gridCol>
                <a:gridCol w="467320">
                  <a:extLst>
                    <a:ext uri="{9D8B030D-6E8A-4147-A177-3AD203B41FA5}">
                      <a16:colId xmlns:a16="http://schemas.microsoft.com/office/drawing/2014/main" val="4098035717"/>
                    </a:ext>
                  </a:extLst>
                </a:gridCol>
              </a:tblGrid>
              <a:tr h="353358">
                <a:tc>
                  <a:txBody>
                    <a:bodyPr/>
                    <a:lstStyle/>
                    <a:p>
                      <a:pPr algn="l"/>
                      <a:r>
                        <a:rPr lang="fr-FR" sz="14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14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ctif circulant (classes 3, 4, 5)</a:t>
                      </a:r>
                      <a:endParaRPr lang="fr-FR" sz="1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l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tocks 	31 / 32	391 / 392</a:t>
                      </a:r>
                    </a:p>
                    <a:p>
                      <a:pPr algn="l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33 / 34	393 / 394</a:t>
                      </a:r>
                    </a:p>
                    <a:p>
                      <a:pPr algn="l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             35 /  37    395 / 397</a:t>
                      </a:r>
                    </a:p>
                    <a:p>
                      <a:pPr algn="l"/>
                      <a:endParaRPr lang="fr-FR" sz="1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vances et acomptes versés sur commandes </a:t>
                      </a:r>
                    </a:p>
                    <a:p>
                      <a:pPr algn="l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l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réances clients et comptes rattachés </a:t>
                      </a:r>
                    </a:p>
                    <a:p>
                      <a:pPr algn="l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l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utres créances</a:t>
                      </a:r>
                      <a:r>
                        <a:rPr lang="fr-FR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fr-FR" sz="1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comptes 42, 43, 44, 45, 46 à  solde débiteur)</a:t>
                      </a:r>
                    </a:p>
                    <a:p>
                      <a:pPr algn="l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l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Valeurs mobilières de placement (V.M.P)</a:t>
                      </a:r>
                    </a:p>
                    <a:p>
                      <a:pPr algn="l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l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isponibilités (banque, caisse) </a:t>
                      </a:r>
                    </a:p>
                    <a:p>
                      <a:pPr algn="l"/>
                      <a:r>
                        <a:rPr lang="fr-FR" sz="14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lasse 3</a:t>
                      </a:r>
                    </a:p>
                    <a:p>
                      <a:pPr algn="ctr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endParaRPr lang="fr-FR" sz="1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091</a:t>
                      </a:r>
                    </a:p>
                    <a:p>
                      <a:pPr algn="ctr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11</a:t>
                      </a:r>
                    </a:p>
                    <a:p>
                      <a:pPr algn="ctr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0</a:t>
                      </a:r>
                    </a:p>
                    <a:p>
                      <a:pPr algn="ctr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12/53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9</a:t>
                      </a:r>
                    </a:p>
                    <a:p>
                      <a:pPr algn="ctr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91</a:t>
                      </a:r>
                    </a:p>
                    <a:p>
                      <a:pPr algn="ctr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9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/>
                </a:tc>
                <a:tc gridSpan="3">
                  <a:txBody>
                    <a:bodyPr/>
                    <a:lstStyle/>
                    <a:p>
                      <a:pPr algn="just"/>
                      <a:r>
                        <a:rPr lang="fr-FR" sz="14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14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ettes (classes 1, 4)</a:t>
                      </a:r>
                      <a:endParaRPr lang="fr-FR" sz="1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14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mprunts obligataires </a:t>
                      </a:r>
                    </a:p>
                    <a:p>
                      <a:pPr indent="8890" algn="l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mprunts et dettes auprès des  </a:t>
                      </a:r>
                      <a:r>
                        <a:rPr lang="fr-FR" sz="1400" dirty="0" err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étabts</a:t>
                      </a:r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de crédit </a:t>
                      </a:r>
                    </a:p>
                    <a:p>
                      <a:pPr marL="45720" indent="-45720" algn="just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anque créditrice (découvert) </a:t>
                      </a:r>
                    </a:p>
                    <a:p>
                      <a:pPr marL="45720" indent="-45720" algn="just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marL="45720" indent="-45720" algn="just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Avances et acomptes reçus sur commandes </a:t>
                      </a:r>
                    </a:p>
                    <a:p>
                      <a:pPr marL="45720" indent="-45720" algn="just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just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Dettes fournisseurs et comptes rattachés </a:t>
                      </a:r>
                    </a:p>
                    <a:p>
                      <a:pPr algn="just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just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Dettes fournisseurs d'immobilisations</a:t>
                      </a:r>
                    </a:p>
                    <a:p>
                      <a:pPr algn="just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pPr algn="just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Dettes fiscales et sociales  </a:t>
                      </a:r>
                    </a:p>
                    <a:p>
                      <a:pPr algn="l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comptes 42, 43, 44, 45 à solde créditeur)</a:t>
                      </a:r>
                    </a:p>
                    <a:p>
                      <a:pPr algn="just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just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utres dettes </a:t>
                      </a:r>
                      <a:endParaRPr lang="fr-FR" dirty="0"/>
                    </a:p>
                  </a:txBody>
                  <a:tcPr marL="44450" marR="44450" marT="0" marB="0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just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/>
                </a:tc>
                <a:tc hMerge="1">
                  <a:txBody>
                    <a:bodyPr/>
                    <a:lstStyle/>
                    <a:p>
                      <a:pPr algn="just"/>
                      <a:r>
                        <a:rPr lang="fr-FR" sz="14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14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ettes (classes 1, 4)</a:t>
                      </a:r>
                      <a:endParaRPr lang="fr-FR" sz="14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14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mprunts obligataires </a:t>
                      </a:r>
                    </a:p>
                    <a:p>
                      <a:pPr indent="8890" algn="l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mprunts et dettes auprès des  établissements de crédit </a:t>
                      </a:r>
                    </a:p>
                    <a:p>
                      <a:pPr marL="45720" indent="-45720" algn="just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anque créditrice (découvert) </a:t>
                      </a:r>
                    </a:p>
                    <a:p>
                      <a:pPr marL="45720" indent="-45720" algn="just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marL="45720" indent="-45720" algn="just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Avances et acomptes reçus sur commandes </a:t>
                      </a:r>
                    </a:p>
                    <a:p>
                      <a:pPr marL="45720" indent="-45720" algn="just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just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Dettes fournisseurs et comptes rattachés </a:t>
                      </a:r>
                    </a:p>
                    <a:p>
                      <a:pPr algn="just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just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Dettes fournisseurs d'immobilisations</a:t>
                      </a:r>
                    </a:p>
                    <a:p>
                      <a:pPr algn="just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pPr algn="just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Dettes fiscales et sociales  </a:t>
                      </a:r>
                    </a:p>
                    <a:p>
                      <a:pPr algn="l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comptes 42, 43, 44, 45 à solde créditeur)</a:t>
                      </a:r>
                    </a:p>
                    <a:p>
                      <a:pPr algn="just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just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utres dettes 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endParaRPr lang="fr-FR" sz="1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1/163</a:t>
                      </a:r>
                    </a:p>
                    <a:p>
                      <a:pPr algn="just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4</a:t>
                      </a:r>
                    </a:p>
                    <a:p>
                      <a:pPr algn="just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519</a:t>
                      </a:r>
                    </a:p>
                    <a:p>
                      <a:pPr algn="just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just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191</a:t>
                      </a:r>
                    </a:p>
                    <a:p>
                      <a:pPr algn="just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just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01</a:t>
                      </a:r>
                    </a:p>
                    <a:p>
                      <a:pPr algn="just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just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04</a:t>
                      </a:r>
                    </a:p>
                    <a:p>
                      <a:pPr algn="just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just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just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just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just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6</a:t>
                      </a:r>
                    </a:p>
                    <a:p>
                      <a:pPr algn="just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dirty="0"/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just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endParaRPr lang="fr-FR" sz="1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1/163</a:t>
                      </a:r>
                    </a:p>
                    <a:p>
                      <a:pPr algn="just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4</a:t>
                      </a:r>
                    </a:p>
                    <a:p>
                      <a:pPr algn="just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519</a:t>
                      </a:r>
                    </a:p>
                    <a:p>
                      <a:pPr algn="just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just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191</a:t>
                      </a:r>
                    </a:p>
                    <a:p>
                      <a:pPr algn="just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just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01</a:t>
                      </a:r>
                    </a:p>
                    <a:p>
                      <a:pPr algn="just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just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04</a:t>
                      </a:r>
                    </a:p>
                    <a:p>
                      <a:pPr algn="just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just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just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just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just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6</a:t>
                      </a:r>
                    </a:p>
                    <a:p>
                      <a:pPr algn="just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8843503"/>
                  </a:ext>
                </a:extLst>
              </a:tr>
              <a:tr h="418237">
                <a:tc>
                  <a:txBody>
                    <a:bodyPr/>
                    <a:lstStyle/>
                    <a:p>
                      <a:pPr algn="ctr"/>
                      <a:r>
                        <a:rPr lang="fr-FR" sz="14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I) Total actif circulant</a:t>
                      </a:r>
                      <a:endParaRPr lang="fr-FR" sz="14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r>
                        <a:rPr lang="fr-FR" sz="14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II) Total dettes</a:t>
                      </a:r>
                      <a:endParaRPr lang="fr-FR" dirty="0"/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fr-FR" sz="14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II) Total dettes</a:t>
                      </a:r>
                      <a:endParaRPr lang="fr-FR" sz="14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dirty="0"/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33599863"/>
                  </a:ext>
                </a:extLst>
              </a:tr>
              <a:tr h="4133169">
                <a:tc gridSpan="9">
                  <a:txBody>
                    <a:bodyPr/>
                    <a:lstStyle/>
                    <a:p>
                      <a:pPr algn="ctr"/>
                      <a:endParaRPr lang="fr-FR" sz="1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r-FR" sz="1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r-FR" sz="1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fr-FR" sz="1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r-FR" sz="1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just"/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8528378"/>
                  </a:ext>
                </a:extLst>
              </a:tr>
              <a:tr h="597781">
                <a:tc>
                  <a:txBody>
                    <a:bodyPr/>
                    <a:lstStyle/>
                    <a:p>
                      <a:pPr algn="l"/>
                      <a:r>
                        <a:rPr lang="fr-FR" sz="7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7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ctif circulant (classes 3, 4, 5)</a:t>
                      </a:r>
                      <a:endParaRPr lang="fr-FR" sz="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tocks et en-cours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Matières 1</a:t>
                      </a:r>
                      <a:r>
                        <a:rPr lang="fr-FR" sz="700" baseline="30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ères</a:t>
                      </a:r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et autres approvisionnements	31 / 32	391 / 392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En-cours de production de Biens et Services	33 / 34	393 / 394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Produits intermédiaires et finis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Marchandises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vances et acomptes versés sur commandes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réances clients et comptes rattachés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utres créances</a:t>
                      </a:r>
                      <a:r>
                        <a:rPr lang="fr-FR" sz="7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comptes 42, 43, 44, 45, 46 à  solde débiteur)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Valeurs mobilières de placement (V.M.P)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isponibilités (banque, caisse)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7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lasse 3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091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11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0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12/53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9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91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95/496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9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2">
                  <a:txBody>
                    <a:bodyPr/>
                    <a:lstStyle/>
                    <a:p>
                      <a:pPr algn="just"/>
                      <a:r>
                        <a:rPr lang="fr-FR" sz="7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ettes (classes 1, 4)</a:t>
                      </a:r>
                      <a:endParaRPr lang="fr-FR" sz="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mprunts obligataires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8890" algn="l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mprunts et dettes auprès des  établissements de crédit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45720" indent="-45720"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anque créditrice (découvert)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45720" indent="-45720"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45720" indent="-45720"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Avances et acomptes reçus sur commandes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45720" indent="-45720"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Dettes fournisseurs et comptes rattachés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Dettes fournisseurs d'immobilisations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Dettes fiscales et sociales 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comptes 42, 43, 44, 45 à solde créditeur)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utres dettes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just"/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1/163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4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19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191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01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04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6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0255347"/>
                  </a:ext>
                </a:extLst>
              </a:tr>
              <a:tr h="727132">
                <a:tc>
                  <a:txBody>
                    <a:bodyPr/>
                    <a:lstStyle/>
                    <a:p>
                      <a:pPr algn="ctr"/>
                      <a:r>
                        <a:rPr lang="fr-FR" sz="7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I) Total actif circulant</a:t>
                      </a:r>
                      <a:endParaRPr lang="fr-FR" sz="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fr-FR" sz="7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II) Total dettes</a:t>
                      </a:r>
                      <a:endParaRPr lang="fr-FR" sz="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r-FR" sz="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2107855"/>
                  </a:ext>
                </a:extLst>
              </a:tr>
              <a:tr h="286532">
                <a:tc>
                  <a:txBody>
                    <a:bodyPr/>
                    <a:lstStyle/>
                    <a:p>
                      <a:pPr algn="ctr"/>
                      <a:r>
                        <a:rPr lang="fr-FR" sz="7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II) Total général = I + II</a:t>
                      </a:r>
                      <a:endParaRPr lang="fr-FR" sz="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fr-FR" sz="7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V) Total général = I + II + III</a:t>
                      </a:r>
                      <a:endParaRPr lang="fr-FR" sz="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r-FR" sz="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25793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352189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0" name="Picture 4">
            <a:extLst>
              <a:ext uri="{FF2B5EF4-FFF2-40B4-BE49-F238E27FC236}">
                <a16:creationId xmlns:a16="http://schemas.microsoft.com/office/drawing/2014/main" id="{D19D593C-C137-4B24-8DBF-65CDDFC1AC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480" y="827038"/>
            <a:ext cx="8671560" cy="49444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3FCE95E1-503B-4FA9-8928-B1D43599FA6B}"/>
              </a:ext>
            </a:extLst>
          </p:cNvPr>
          <p:cNvSpPr txBox="1"/>
          <p:nvPr/>
        </p:nvSpPr>
        <p:spPr>
          <a:xfrm>
            <a:off x="217170" y="457706"/>
            <a:ext cx="90601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/>
              <a:t>Le bilan fonctionnel</a:t>
            </a:r>
          </a:p>
        </p:txBody>
      </p:sp>
    </p:spTree>
    <p:extLst>
      <p:ext uri="{BB962C8B-B14F-4D97-AF65-F5344CB8AC3E}">
        <p14:creationId xmlns:p14="http://schemas.microsoft.com/office/powerpoint/2010/main" val="55600540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0" name="Picture 4">
            <a:extLst>
              <a:ext uri="{FF2B5EF4-FFF2-40B4-BE49-F238E27FC236}">
                <a16:creationId xmlns:a16="http://schemas.microsoft.com/office/drawing/2014/main" id="{D19D593C-C137-4B24-8DBF-65CDDFC1AC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480" y="827038"/>
            <a:ext cx="8671560" cy="49444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3FCE95E1-503B-4FA9-8928-B1D43599FA6B}"/>
              </a:ext>
            </a:extLst>
          </p:cNvPr>
          <p:cNvSpPr txBox="1"/>
          <p:nvPr/>
        </p:nvSpPr>
        <p:spPr>
          <a:xfrm>
            <a:off x="217170" y="457706"/>
            <a:ext cx="90601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/>
              <a:t>Le bilan fonctionnel</a:t>
            </a:r>
          </a:p>
        </p:txBody>
      </p:sp>
    </p:spTree>
    <p:extLst>
      <p:ext uri="{BB962C8B-B14F-4D97-AF65-F5344CB8AC3E}">
        <p14:creationId xmlns:p14="http://schemas.microsoft.com/office/powerpoint/2010/main" val="350151979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4" name="Rectangle 83">
            <a:extLst>
              <a:ext uri="{FF2B5EF4-FFF2-40B4-BE49-F238E27FC236}">
                <a16:creationId xmlns:a16="http://schemas.microsoft.com/office/drawing/2014/main" id="{F13C74B1-5B17-4795-BED0-7140497B44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517F6E-26E9-44E8-815E-774552D9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707" y="334971"/>
            <a:ext cx="5807759" cy="1947239"/>
          </a:xfrm>
          <a:prstGeom prst="ellipse">
            <a:avLst/>
          </a:prstGeom>
        </p:spPr>
        <p:txBody>
          <a:bodyPr vert="horz" lIns="91440" tIns="45720" rIns="91440" bIns="45720" rtlCol="0" anchor="b">
            <a:normAutofit fontScale="90000"/>
          </a:bodyPr>
          <a:lstStyle/>
          <a:p>
            <a:br>
              <a:rPr lang="en-US" sz="4800" dirty="0"/>
            </a:br>
            <a:r>
              <a:rPr lang="en-US" dirty="0"/>
              <a:t>Les </a:t>
            </a:r>
            <a:r>
              <a:rPr lang="en-US" dirty="0" err="1"/>
              <a:t>comptes</a:t>
            </a:r>
            <a:r>
              <a:rPr lang="en-US" dirty="0"/>
              <a:t> du </a:t>
            </a:r>
            <a:r>
              <a:rPr lang="en-US" dirty="0" err="1"/>
              <a:t>bilan</a:t>
            </a:r>
            <a:endParaRPr lang="en-US" sz="4600" dirty="0"/>
          </a:p>
        </p:txBody>
      </p:sp>
      <p:sp>
        <p:nvSpPr>
          <p:cNvPr id="86" name="sketchy line">
            <a:extLst>
              <a:ext uri="{FF2B5EF4-FFF2-40B4-BE49-F238E27FC236}">
                <a16:creationId xmlns:a16="http://schemas.microsoft.com/office/drawing/2014/main" id="{D4974D33-8DC5-464E-8C6D-BE58F0669C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0080" y="2586994"/>
            <a:ext cx="3474720" cy="18288"/>
          </a:xfrm>
          <a:custGeom>
            <a:avLst/>
            <a:gdLst>
              <a:gd name="connsiteX0" fmla="*/ 0 w 3474720"/>
              <a:gd name="connsiteY0" fmla="*/ 0 h 18288"/>
              <a:gd name="connsiteX1" fmla="*/ 694944 w 3474720"/>
              <a:gd name="connsiteY1" fmla="*/ 0 h 18288"/>
              <a:gd name="connsiteX2" fmla="*/ 1355141 w 3474720"/>
              <a:gd name="connsiteY2" fmla="*/ 0 h 18288"/>
              <a:gd name="connsiteX3" fmla="*/ 2015338 w 3474720"/>
              <a:gd name="connsiteY3" fmla="*/ 0 h 18288"/>
              <a:gd name="connsiteX4" fmla="*/ 2779776 w 3474720"/>
              <a:gd name="connsiteY4" fmla="*/ 0 h 18288"/>
              <a:gd name="connsiteX5" fmla="*/ 3474720 w 3474720"/>
              <a:gd name="connsiteY5" fmla="*/ 0 h 18288"/>
              <a:gd name="connsiteX6" fmla="*/ 3474720 w 3474720"/>
              <a:gd name="connsiteY6" fmla="*/ 18288 h 18288"/>
              <a:gd name="connsiteX7" fmla="*/ 2779776 w 3474720"/>
              <a:gd name="connsiteY7" fmla="*/ 18288 h 18288"/>
              <a:gd name="connsiteX8" fmla="*/ 2189074 w 3474720"/>
              <a:gd name="connsiteY8" fmla="*/ 18288 h 18288"/>
              <a:gd name="connsiteX9" fmla="*/ 1528877 w 3474720"/>
              <a:gd name="connsiteY9" fmla="*/ 18288 h 18288"/>
              <a:gd name="connsiteX10" fmla="*/ 868680 w 3474720"/>
              <a:gd name="connsiteY10" fmla="*/ 18288 h 18288"/>
              <a:gd name="connsiteX11" fmla="*/ 0 w 3474720"/>
              <a:gd name="connsiteY11" fmla="*/ 18288 h 18288"/>
              <a:gd name="connsiteX12" fmla="*/ 0 w 3474720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474720" h="18288" fill="none" extrusionOk="0">
                <a:moveTo>
                  <a:pt x="0" y="0"/>
                </a:moveTo>
                <a:cubicBezTo>
                  <a:pt x="224454" y="-14544"/>
                  <a:pt x="495407" y="26540"/>
                  <a:pt x="694944" y="0"/>
                </a:cubicBezTo>
                <a:cubicBezTo>
                  <a:pt x="894481" y="-26540"/>
                  <a:pt x="1130063" y="24713"/>
                  <a:pt x="1355141" y="0"/>
                </a:cubicBezTo>
                <a:cubicBezTo>
                  <a:pt x="1580219" y="-24713"/>
                  <a:pt x="1820099" y="26695"/>
                  <a:pt x="2015338" y="0"/>
                </a:cubicBezTo>
                <a:cubicBezTo>
                  <a:pt x="2210577" y="-26695"/>
                  <a:pt x="2402045" y="165"/>
                  <a:pt x="2779776" y="0"/>
                </a:cubicBezTo>
                <a:cubicBezTo>
                  <a:pt x="3157507" y="-165"/>
                  <a:pt x="3286859" y="-15571"/>
                  <a:pt x="3474720" y="0"/>
                </a:cubicBezTo>
                <a:cubicBezTo>
                  <a:pt x="3474286" y="7551"/>
                  <a:pt x="3474253" y="9822"/>
                  <a:pt x="3474720" y="18288"/>
                </a:cubicBezTo>
                <a:cubicBezTo>
                  <a:pt x="3233904" y="29845"/>
                  <a:pt x="2945134" y="-5256"/>
                  <a:pt x="2779776" y="18288"/>
                </a:cubicBezTo>
                <a:cubicBezTo>
                  <a:pt x="2614418" y="41832"/>
                  <a:pt x="2339768" y="22709"/>
                  <a:pt x="2189074" y="18288"/>
                </a:cubicBezTo>
                <a:cubicBezTo>
                  <a:pt x="2038380" y="13867"/>
                  <a:pt x="1817434" y="-4947"/>
                  <a:pt x="1528877" y="18288"/>
                </a:cubicBezTo>
                <a:cubicBezTo>
                  <a:pt x="1240320" y="41523"/>
                  <a:pt x="1042447" y="37198"/>
                  <a:pt x="868680" y="18288"/>
                </a:cubicBezTo>
                <a:cubicBezTo>
                  <a:pt x="694913" y="-622"/>
                  <a:pt x="233232" y="44909"/>
                  <a:pt x="0" y="18288"/>
                </a:cubicBezTo>
                <a:cubicBezTo>
                  <a:pt x="60" y="11696"/>
                  <a:pt x="66" y="3758"/>
                  <a:pt x="0" y="0"/>
                </a:cubicBezTo>
                <a:close/>
              </a:path>
              <a:path w="3474720" h="18288" stroke="0" extrusionOk="0">
                <a:moveTo>
                  <a:pt x="0" y="0"/>
                </a:moveTo>
                <a:cubicBezTo>
                  <a:pt x="202328" y="-14716"/>
                  <a:pt x="332722" y="-11499"/>
                  <a:pt x="625450" y="0"/>
                </a:cubicBezTo>
                <a:cubicBezTo>
                  <a:pt x="918178" y="11499"/>
                  <a:pt x="1096688" y="5123"/>
                  <a:pt x="1389888" y="0"/>
                </a:cubicBezTo>
                <a:cubicBezTo>
                  <a:pt x="1683088" y="-5123"/>
                  <a:pt x="1835981" y="-14038"/>
                  <a:pt x="1980590" y="0"/>
                </a:cubicBezTo>
                <a:cubicBezTo>
                  <a:pt x="2125199" y="14038"/>
                  <a:pt x="2396099" y="-7203"/>
                  <a:pt x="2571293" y="0"/>
                </a:cubicBezTo>
                <a:cubicBezTo>
                  <a:pt x="2746487" y="7203"/>
                  <a:pt x="3041609" y="-12036"/>
                  <a:pt x="3474720" y="0"/>
                </a:cubicBezTo>
                <a:cubicBezTo>
                  <a:pt x="3474638" y="4406"/>
                  <a:pt x="3474631" y="9982"/>
                  <a:pt x="3474720" y="18288"/>
                </a:cubicBezTo>
                <a:cubicBezTo>
                  <a:pt x="3324873" y="21876"/>
                  <a:pt x="3136771" y="12587"/>
                  <a:pt x="2814523" y="18288"/>
                </a:cubicBezTo>
                <a:cubicBezTo>
                  <a:pt x="2492275" y="23989"/>
                  <a:pt x="2294402" y="47111"/>
                  <a:pt x="2154326" y="18288"/>
                </a:cubicBezTo>
                <a:cubicBezTo>
                  <a:pt x="2014250" y="-10535"/>
                  <a:pt x="1820317" y="33903"/>
                  <a:pt x="1494130" y="18288"/>
                </a:cubicBezTo>
                <a:cubicBezTo>
                  <a:pt x="1167943" y="2673"/>
                  <a:pt x="948432" y="14868"/>
                  <a:pt x="729691" y="18288"/>
                </a:cubicBezTo>
                <a:cubicBezTo>
                  <a:pt x="510950" y="21708"/>
                  <a:pt x="264032" y="24354"/>
                  <a:pt x="0" y="18288"/>
                </a:cubicBezTo>
                <a:cubicBezTo>
                  <a:pt x="189" y="14288"/>
                  <a:pt x="-703" y="374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DFEA2082-E7DE-4453-8158-54F380B94285}"/>
              </a:ext>
            </a:extLst>
          </p:cNvPr>
          <p:cNvSpPr txBox="1"/>
          <p:nvPr/>
        </p:nvSpPr>
        <p:spPr>
          <a:xfrm>
            <a:off x="640080" y="2872899"/>
            <a:ext cx="4243589" cy="33206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 dirty="0"/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FC9EF324-339C-4E46-9508-BF0C86AAC79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l="10828" r="22745" b="1"/>
          <a:stretch/>
        </p:blipFill>
        <p:spPr>
          <a:xfrm>
            <a:off x="5311702" y="10"/>
            <a:ext cx="6878775" cy="6857990"/>
          </a:xfrm>
          <a:custGeom>
            <a:avLst/>
            <a:gdLst/>
            <a:ahLst/>
            <a:cxnLst/>
            <a:rect l="l" t="t" r="r" b="b"/>
            <a:pathLst>
              <a:path w="6878775" h="6858000">
                <a:moveTo>
                  <a:pt x="1102973" y="0"/>
                </a:moveTo>
                <a:lnTo>
                  <a:pt x="1160688" y="0"/>
                </a:lnTo>
                <a:lnTo>
                  <a:pt x="983189" y="331786"/>
                </a:lnTo>
                <a:cubicBezTo>
                  <a:pt x="914866" y="469145"/>
                  <a:pt x="850355" y="608712"/>
                  <a:pt x="789261" y="750263"/>
                </a:cubicBezTo>
                <a:cubicBezTo>
                  <a:pt x="774307" y="784928"/>
                  <a:pt x="759992" y="819849"/>
                  <a:pt x="745295" y="854514"/>
                </a:cubicBezTo>
                <a:cubicBezTo>
                  <a:pt x="756682" y="845393"/>
                  <a:pt x="765489" y="833492"/>
                  <a:pt x="770857" y="819975"/>
                </a:cubicBezTo>
                <a:cubicBezTo>
                  <a:pt x="879943" y="589569"/>
                  <a:pt x="999605" y="365513"/>
                  <a:pt x="1131329" y="148742"/>
                </a:cubicBezTo>
                <a:lnTo>
                  <a:pt x="1227589" y="0"/>
                </a:lnTo>
                <a:lnTo>
                  <a:pt x="6878775" y="0"/>
                </a:lnTo>
                <a:lnTo>
                  <a:pt x="6878775" y="6858000"/>
                </a:lnTo>
                <a:lnTo>
                  <a:pt x="713521" y="6858000"/>
                </a:lnTo>
                <a:lnTo>
                  <a:pt x="625642" y="6670527"/>
                </a:lnTo>
                <a:cubicBezTo>
                  <a:pt x="507232" y="6398531"/>
                  <a:pt x="403083" y="6118381"/>
                  <a:pt x="312785" y="5830359"/>
                </a:cubicBezTo>
                <a:cubicBezTo>
                  <a:pt x="278149" y="5719759"/>
                  <a:pt x="248879" y="5607635"/>
                  <a:pt x="212198" y="5480401"/>
                </a:cubicBezTo>
                <a:cubicBezTo>
                  <a:pt x="212208" y="5491601"/>
                  <a:pt x="212803" y="5502788"/>
                  <a:pt x="213988" y="5513923"/>
                </a:cubicBezTo>
                <a:cubicBezTo>
                  <a:pt x="264089" y="5723695"/>
                  <a:pt x="307290" y="5935370"/>
                  <a:pt x="365826" y="6142729"/>
                </a:cubicBezTo>
                <a:cubicBezTo>
                  <a:pt x="433152" y="6380817"/>
                  <a:pt x="510068" y="6614016"/>
                  <a:pt x="597975" y="6841549"/>
                </a:cubicBezTo>
                <a:lnTo>
                  <a:pt x="604824" y="6858000"/>
                </a:lnTo>
                <a:lnTo>
                  <a:pt x="552056" y="6858000"/>
                </a:lnTo>
                <a:lnTo>
                  <a:pt x="539576" y="6828295"/>
                </a:lnTo>
                <a:cubicBezTo>
                  <a:pt x="380597" y="6414594"/>
                  <a:pt x="260223" y="5988893"/>
                  <a:pt x="171555" y="5552906"/>
                </a:cubicBezTo>
                <a:cubicBezTo>
                  <a:pt x="91163" y="5157998"/>
                  <a:pt x="43746" y="4758899"/>
                  <a:pt x="12305" y="4357388"/>
                </a:cubicBezTo>
                <a:cubicBezTo>
                  <a:pt x="-14281" y="4013908"/>
                  <a:pt x="4507" y="3672965"/>
                  <a:pt x="46684" y="3331516"/>
                </a:cubicBezTo>
                <a:cubicBezTo>
                  <a:pt x="127203" y="2664286"/>
                  <a:pt x="277819" y="2007265"/>
                  <a:pt x="496065" y="1371196"/>
                </a:cubicBezTo>
                <a:cubicBezTo>
                  <a:pt x="636273" y="966066"/>
                  <a:pt x="800445" y="573253"/>
                  <a:pt x="995723" y="196614"/>
                </a:cubicBezTo>
                <a:close/>
              </a:path>
            </a:pathLst>
          </a:cu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AE196125-F657-4A8D-BF6F-9D35E2A19BAA}"/>
              </a:ext>
            </a:extLst>
          </p:cNvPr>
          <p:cNvSpPr txBox="1"/>
          <p:nvPr/>
        </p:nvSpPr>
        <p:spPr>
          <a:xfrm>
            <a:off x="838200" y="3195971"/>
            <a:ext cx="3703320" cy="29809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23" name="ZoneTexte 2">
            <a:extLst>
              <a:ext uri="{FF2B5EF4-FFF2-40B4-BE49-F238E27FC236}">
                <a16:creationId xmlns:a16="http://schemas.microsoft.com/office/drawing/2014/main" id="{61BA051E-0D20-4CC3-9958-C0CFDE297C40}"/>
              </a:ext>
            </a:extLst>
          </p:cNvPr>
          <p:cNvSpPr txBox="1"/>
          <p:nvPr/>
        </p:nvSpPr>
        <p:spPr>
          <a:xfrm>
            <a:off x="1179226" y="3092970"/>
            <a:ext cx="9833548" cy="26939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</p:txBody>
      </p:sp>
      <p:grpSp>
        <p:nvGrpSpPr>
          <p:cNvPr id="7" name="Awar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1C68EA-2299-4048-9768-29BE3CCCA72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0"/>
            <a:ext cx="344587" cy="542925"/>
            <a:chOff x="2585735" y="108789"/>
            <a:chExt cx="344587" cy="542925"/>
          </a:xfrm>
        </p:grpSpPr>
        <p:sp>
          <p:nvSpPr>
            <p:cNvPr id="8" name="Freeform: Shape 206">
              <a:extLst>
                <a:ext uri="{FF2B5EF4-FFF2-40B4-BE49-F238E27FC236}">
                  <a16:creationId xmlns:a16="http://schemas.microsoft.com/office/drawing/2014/main" id="{F1582718-4360-43D7-8A82-7C736EEF1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735" y="108789"/>
              <a:ext cx="344587" cy="344988"/>
            </a:xfrm>
            <a:custGeom>
              <a:avLst/>
              <a:gdLst>
                <a:gd name="connsiteX0" fmla="*/ 167961 w 344587"/>
                <a:gd name="connsiteY0" fmla="*/ 276672 h 344988"/>
                <a:gd name="connsiteX1" fmla="*/ 168781 w 344587"/>
                <a:gd name="connsiteY1" fmla="*/ 281441 h 344988"/>
                <a:gd name="connsiteX2" fmla="*/ 165282 w 344587"/>
                <a:gd name="connsiteY2" fmla="*/ 284827 h 344988"/>
                <a:gd name="connsiteX3" fmla="*/ 170121 w 344587"/>
                <a:gd name="connsiteY3" fmla="*/ 285532 h 344988"/>
                <a:gd name="connsiteX4" fmla="*/ 172307 w 344587"/>
                <a:gd name="connsiteY4" fmla="*/ 289894 h 344988"/>
                <a:gd name="connsiteX5" fmla="*/ 174467 w 344587"/>
                <a:gd name="connsiteY5" fmla="*/ 285532 h 344988"/>
                <a:gd name="connsiteX6" fmla="*/ 179306 w 344587"/>
                <a:gd name="connsiteY6" fmla="*/ 284827 h 344988"/>
                <a:gd name="connsiteX7" fmla="*/ 175806 w 344587"/>
                <a:gd name="connsiteY7" fmla="*/ 281441 h 344988"/>
                <a:gd name="connsiteX8" fmla="*/ 176627 w 344587"/>
                <a:gd name="connsiteY8" fmla="*/ 276672 h 344988"/>
                <a:gd name="connsiteX9" fmla="*/ 172307 w 344587"/>
                <a:gd name="connsiteY9" fmla="*/ 278921 h 344988"/>
                <a:gd name="connsiteX10" fmla="*/ 194527 w 344587"/>
                <a:gd name="connsiteY10" fmla="*/ 274468 h 344988"/>
                <a:gd name="connsiteX11" fmla="*/ 190704 w 344587"/>
                <a:gd name="connsiteY11" fmla="*/ 277391 h 344988"/>
                <a:gd name="connsiteX12" fmla="*/ 186127 w 344587"/>
                <a:gd name="connsiteY12" fmla="*/ 275943 h 344988"/>
                <a:gd name="connsiteX13" fmla="*/ 187742 w 344587"/>
                <a:gd name="connsiteY13" fmla="*/ 280475 h 344988"/>
                <a:gd name="connsiteX14" fmla="*/ 184915 w 344587"/>
                <a:gd name="connsiteY14" fmla="*/ 284363 h 344988"/>
                <a:gd name="connsiteX15" fmla="*/ 189761 w 344587"/>
                <a:gd name="connsiteY15" fmla="*/ 284229 h 344988"/>
                <a:gd name="connsiteX16" fmla="*/ 192615 w 344587"/>
                <a:gd name="connsiteY16" fmla="*/ 288091 h 344988"/>
                <a:gd name="connsiteX17" fmla="*/ 193961 w 344587"/>
                <a:gd name="connsiteY17" fmla="*/ 283479 h 344988"/>
                <a:gd name="connsiteX18" fmla="*/ 198538 w 344587"/>
                <a:gd name="connsiteY18" fmla="*/ 281977 h 344988"/>
                <a:gd name="connsiteX19" fmla="*/ 194554 w 344587"/>
                <a:gd name="connsiteY19" fmla="*/ 279268 h 344988"/>
                <a:gd name="connsiteX20" fmla="*/ 149919 w 344587"/>
                <a:gd name="connsiteY20" fmla="*/ 274468 h 344988"/>
                <a:gd name="connsiteX21" fmla="*/ 149892 w 344587"/>
                <a:gd name="connsiteY21" fmla="*/ 279268 h 344988"/>
                <a:gd name="connsiteX22" fmla="*/ 145849 w 344587"/>
                <a:gd name="connsiteY22" fmla="*/ 281977 h 344988"/>
                <a:gd name="connsiteX23" fmla="*/ 150493 w 344587"/>
                <a:gd name="connsiteY23" fmla="*/ 283479 h 344988"/>
                <a:gd name="connsiteX24" fmla="*/ 151859 w 344587"/>
                <a:gd name="connsiteY24" fmla="*/ 288091 h 344988"/>
                <a:gd name="connsiteX25" fmla="*/ 154755 w 344587"/>
                <a:gd name="connsiteY25" fmla="*/ 284229 h 344988"/>
                <a:gd name="connsiteX26" fmla="*/ 159672 w 344587"/>
                <a:gd name="connsiteY26" fmla="*/ 284363 h 344988"/>
                <a:gd name="connsiteX27" fmla="*/ 156804 w 344587"/>
                <a:gd name="connsiteY27" fmla="*/ 280475 h 344988"/>
                <a:gd name="connsiteX28" fmla="*/ 158443 w 344587"/>
                <a:gd name="connsiteY28" fmla="*/ 275943 h 344988"/>
                <a:gd name="connsiteX29" fmla="*/ 153798 w 344587"/>
                <a:gd name="connsiteY29" fmla="*/ 277391 h 344988"/>
                <a:gd name="connsiteX30" fmla="*/ 211844 w 344587"/>
                <a:gd name="connsiteY30" fmla="*/ 268858 h 344988"/>
                <a:gd name="connsiteX31" fmla="*/ 208584 w 344587"/>
                <a:gd name="connsiteY31" fmla="*/ 272467 h 344988"/>
                <a:gd name="connsiteX32" fmla="*/ 203747 w 344587"/>
                <a:gd name="connsiteY32" fmla="*/ 271811 h 344988"/>
                <a:gd name="connsiteX33" fmla="*/ 206165 w 344587"/>
                <a:gd name="connsiteY33" fmla="*/ 276075 h 344988"/>
                <a:gd name="connsiteX34" fmla="*/ 204046 w 344587"/>
                <a:gd name="connsiteY34" fmla="*/ 280504 h 344988"/>
                <a:gd name="connsiteX35" fmla="*/ 208828 w 344587"/>
                <a:gd name="connsiteY35" fmla="*/ 279492 h 344988"/>
                <a:gd name="connsiteX36" fmla="*/ 212334 w 344587"/>
                <a:gd name="connsiteY36" fmla="*/ 282882 h 344988"/>
                <a:gd name="connsiteX37" fmla="*/ 212877 w 344587"/>
                <a:gd name="connsiteY37" fmla="*/ 278016 h 344988"/>
                <a:gd name="connsiteX38" fmla="*/ 217170 w 344587"/>
                <a:gd name="connsiteY38" fmla="*/ 275693 h 344988"/>
                <a:gd name="connsiteX39" fmla="*/ 212714 w 344587"/>
                <a:gd name="connsiteY39" fmla="*/ 273670 h 344988"/>
                <a:gd name="connsiteX40" fmla="*/ 132663 w 344587"/>
                <a:gd name="connsiteY40" fmla="*/ 268858 h 344988"/>
                <a:gd name="connsiteX41" fmla="*/ 131807 w 344587"/>
                <a:gd name="connsiteY41" fmla="*/ 273670 h 344988"/>
                <a:gd name="connsiteX42" fmla="*/ 127417 w 344587"/>
                <a:gd name="connsiteY42" fmla="*/ 275693 h 344988"/>
                <a:gd name="connsiteX43" fmla="*/ 131646 w 344587"/>
                <a:gd name="connsiteY43" fmla="*/ 278016 h 344988"/>
                <a:gd name="connsiteX44" fmla="*/ 132182 w 344587"/>
                <a:gd name="connsiteY44" fmla="*/ 282882 h 344988"/>
                <a:gd name="connsiteX45" fmla="*/ 135635 w 344587"/>
                <a:gd name="connsiteY45" fmla="*/ 279492 h 344988"/>
                <a:gd name="connsiteX46" fmla="*/ 140345 w 344587"/>
                <a:gd name="connsiteY46" fmla="*/ 280504 h 344988"/>
                <a:gd name="connsiteX47" fmla="*/ 138258 w 344587"/>
                <a:gd name="connsiteY47" fmla="*/ 276075 h 344988"/>
                <a:gd name="connsiteX48" fmla="*/ 140640 w 344587"/>
                <a:gd name="connsiteY48" fmla="*/ 271811 h 344988"/>
                <a:gd name="connsiteX49" fmla="*/ 135875 w 344587"/>
                <a:gd name="connsiteY49" fmla="*/ 272467 h 344988"/>
                <a:gd name="connsiteX50" fmla="*/ 228015 w 344587"/>
                <a:gd name="connsiteY50" fmla="*/ 260644 h 344988"/>
                <a:gd name="connsiteX51" fmla="*/ 225418 w 344587"/>
                <a:gd name="connsiteY51" fmla="*/ 264769 h 344988"/>
                <a:gd name="connsiteX52" fmla="*/ 220576 w 344587"/>
                <a:gd name="connsiteY52" fmla="*/ 264959 h 344988"/>
                <a:gd name="connsiteX53" fmla="*/ 223687 w 344587"/>
                <a:gd name="connsiteY53" fmla="*/ 268704 h 344988"/>
                <a:gd name="connsiteX54" fmla="*/ 222361 w 344587"/>
                <a:gd name="connsiteY54" fmla="*/ 273372 h 344988"/>
                <a:gd name="connsiteX55" fmla="*/ 226879 w 344587"/>
                <a:gd name="connsiteY55" fmla="*/ 271581 h 344988"/>
                <a:gd name="connsiteX56" fmla="*/ 230910 w 344587"/>
                <a:gd name="connsiteY56" fmla="*/ 274268 h 344988"/>
                <a:gd name="connsiteX57" fmla="*/ 230585 w 344587"/>
                <a:gd name="connsiteY57" fmla="*/ 269410 h 344988"/>
                <a:gd name="connsiteX58" fmla="*/ 234399 w 344587"/>
                <a:gd name="connsiteY58" fmla="*/ 266398 h 344988"/>
                <a:gd name="connsiteX59" fmla="*/ 229692 w 344587"/>
                <a:gd name="connsiteY59" fmla="*/ 265204 h 344988"/>
                <a:gd name="connsiteX60" fmla="*/ 116572 w 344587"/>
                <a:gd name="connsiteY60" fmla="*/ 260644 h 344988"/>
                <a:gd name="connsiteX61" fmla="*/ 114895 w 344587"/>
                <a:gd name="connsiteY61" fmla="*/ 265204 h 344988"/>
                <a:gd name="connsiteX62" fmla="*/ 110188 w 344587"/>
                <a:gd name="connsiteY62" fmla="*/ 266398 h 344988"/>
                <a:gd name="connsiteX63" fmla="*/ 114002 w 344587"/>
                <a:gd name="connsiteY63" fmla="*/ 269410 h 344988"/>
                <a:gd name="connsiteX64" fmla="*/ 113678 w 344587"/>
                <a:gd name="connsiteY64" fmla="*/ 274268 h 344988"/>
                <a:gd name="connsiteX65" fmla="*/ 117708 w 344587"/>
                <a:gd name="connsiteY65" fmla="*/ 271581 h 344988"/>
                <a:gd name="connsiteX66" fmla="*/ 122226 w 344587"/>
                <a:gd name="connsiteY66" fmla="*/ 273372 h 344988"/>
                <a:gd name="connsiteX67" fmla="*/ 120900 w 344587"/>
                <a:gd name="connsiteY67" fmla="*/ 268704 h 344988"/>
                <a:gd name="connsiteX68" fmla="*/ 124011 w 344587"/>
                <a:gd name="connsiteY68" fmla="*/ 264959 h 344988"/>
                <a:gd name="connsiteX69" fmla="*/ 119169 w 344587"/>
                <a:gd name="connsiteY69" fmla="*/ 264769 h 344988"/>
                <a:gd name="connsiteX70" fmla="*/ 242363 w 344587"/>
                <a:gd name="connsiteY70" fmla="*/ 249625 h 344988"/>
                <a:gd name="connsiteX71" fmla="*/ 240527 w 344587"/>
                <a:gd name="connsiteY71" fmla="*/ 254100 h 344988"/>
                <a:gd name="connsiteX72" fmla="*/ 235802 w 344587"/>
                <a:gd name="connsiteY72" fmla="*/ 255124 h 344988"/>
                <a:gd name="connsiteX73" fmla="*/ 239501 w 344587"/>
                <a:gd name="connsiteY73" fmla="*/ 258251 h 344988"/>
                <a:gd name="connsiteX74" fmla="*/ 239015 w 344587"/>
                <a:gd name="connsiteY74" fmla="*/ 263048 h 344988"/>
                <a:gd name="connsiteX75" fmla="*/ 243119 w 344587"/>
                <a:gd name="connsiteY75" fmla="*/ 260515 h 344988"/>
                <a:gd name="connsiteX76" fmla="*/ 247546 w 344587"/>
                <a:gd name="connsiteY76" fmla="*/ 262455 h 344988"/>
                <a:gd name="connsiteX77" fmla="*/ 246413 w 344587"/>
                <a:gd name="connsiteY77" fmla="*/ 257766 h 344988"/>
                <a:gd name="connsiteX78" fmla="*/ 249625 w 344587"/>
                <a:gd name="connsiteY78" fmla="*/ 254154 h 344988"/>
                <a:gd name="connsiteX79" fmla="*/ 244792 w 344587"/>
                <a:gd name="connsiteY79" fmla="*/ 253776 h 344988"/>
                <a:gd name="connsiteX80" fmla="*/ 102024 w 344587"/>
                <a:gd name="connsiteY80" fmla="*/ 249625 h 344988"/>
                <a:gd name="connsiteX81" fmla="*/ 99594 w 344587"/>
                <a:gd name="connsiteY81" fmla="*/ 253776 h 344988"/>
                <a:gd name="connsiteX82" fmla="*/ 94762 w 344587"/>
                <a:gd name="connsiteY82" fmla="*/ 254154 h 344988"/>
                <a:gd name="connsiteX83" fmla="*/ 97975 w 344587"/>
                <a:gd name="connsiteY83" fmla="*/ 257766 h 344988"/>
                <a:gd name="connsiteX84" fmla="*/ 96841 w 344587"/>
                <a:gd name="connsiteY84" fmla="*/ 262455 h 344988"/>
                <a:gd name="connsiteX85" fmla="*/ 101268 w 344587"/>
                <a:gd name="connsiteY85" fmla="*/ 260515 h 344988"/>
                <a:gd name="connsiteX86" fmla="*/ 105372 w 344587"/>
                <a:gd name="connsiteY86" fmla="*/ 263048 h 344988"/>
                <a:gd name="connsiteX87" fmla="*/ 104886 w 344587"/>
                <a:gd name="connsiteY87" fmla="*/ 258251 h 344988"/>
                <a:gd name="connsiteX88" fmla="*/ 108585 w 344587"/>
                <a:gd name="connsiteY88" fmla="*/ 255124 h 344988"/>
                <a:gd name="connsiteX89" fmla="*/ 103860 w 344587"/>
                <a:gd name="connsiteY89" fmla="*/ 254100 h 344988"/>
                <a:gd name="connsiteX90" fmla="*/ 254712 w 344587"/>
                <a:gd name="connsiteY90" fmla="*/ 236203 h 344988"/>
                <a:gd name="connsiteX91" fmla="*/ 253690 w 344587"/>
                <a:gd name="connsiteY91" fmla="*/ 240928 h 344988"/>
                <a:gd name="connsiteX92" fmla="*/ 249225 w 344587"/>
                <a:gd name="connsiteY92" fmla="*/ 242764 h 344988"/>
                <a:gd name="connsiteX93" fmla="*/ 253394 w 344587"/>
                <a:gd name="connsiteY93" fmla="*/ 245220 h 344988"/>
                <a:gd name="connsiteX94" fmla="*/ 253771 w 344587"/>
                <a:gd name="connsiteY94" fmla="*/ 250026 h 344988"/>
                <a:gd name="connsiteX95" fmla="*/ 257348 w 344587"/>
                <a:gd name="connsiteY95" fmla="*/ 246813 h 344988"/>
                <a:gd name="connsiteX96" fmla="*/ 262056 w 344587"/>
                <a:gd name="connsiteY96" fmla="*/ 247974 h 344988"/>
                <a:gd name="connsiteX97" fmla="*/ 260119 w 344587"/>
                <a:gd name="connsiteY97" fmla="*/ 243520 h 344988"/>
                <a:gd name="connsiteX98" fmla="*/ 262648 w 344587"/>
                <a:gd name="connsiteY98" fmla="*/ 239416 h 344988"/>
                <a:gd name="connsiteX99" fmla="*/ 257833 w 344587"/>
                <a:gd name="connsiteY99" fmla="*/ 239902 h 344988"/>
                <a:gd name="connsiteX100" fmla="*/ 89793 w 344587"/>
                <a:gd name="connsiteY100" fmla="*/ 236203 h 344988"/>
                <a:gd name="connsiteX101" fmla="*/ 86626 w 344587"/>
                <a:gd name="connsiteY101" fmla="*/ 239902 h 344988"/>
                <a:gd name="connsiteX102" fmla="*/ 81739 w 344587"/>
                <a:gd name="connsiteY102" fmla="*/ 239416 h 344988"/>
                <a:gd name="connsiteX103" fmla="*/ 84333 w 344587"/>
                <a:gd name="connsiteY103" fmla="*/ 243520 h 344988"/>
                <a:gd name="connsiteX104" fmla="*/ 82340 w 344587"/>
                <a:gd name="connsiteY104" fmla="*/ 247974 h 344988"/>
                <a:gd name="connsiteX105" fmla="*/ 87118 w 344587"/>
                <a:gd name="connsiteY105" fmla="*/ 246813 h 344988"/>
                <a:gd name="connsiteX106" fmla="*/ 90749 w 344587"/>
                <a:gd name="connsiteY106" fmla="*/ 250026 h 344988"/>
                <a:gd name="connsiteX107" fmla="*/ 91131 w 344587"/>
                <a:gd name="connsiteY107" fmla="*/ 245220 h 344988"/>
                <a:gd name="connsiteX108" fmla="*/ 95363 w 344587"/>
                <a:gd name="connsiteY108" fmla="*/ 242764 h 344988"/>
                <a:gd name="connsiteX109" fmla="*/ 90831 w 344587"/>
                <a:gd name="connsiteY109" fmla="*/ 240928 h 344988"/>
                <a:gd name="connsiteX110" fmla="*/ 264558 w 344587"/>
                <a:gd name="connsiteY110" fmla="*/ 220977 h 344988"/>
                <a:gd name="connsiteX111" fmla="*/ 264341 w 344587"/>
                <a:gd name="connsiteY111" fmla="*/ 225819 h 344988"/>
                <a:gd name="connsiteX112" fmla="*/ 260243 w 344587"/>
                <a:gd name="connsiteY112" fmla="*/ 228416 h 344988"/>
                <a:gd name="connsiteX113" fmla="*/ 264803 w 344587"/>
                <a:gd name="connsiteY113" fmla="*/ 230093 h 344988"/>
                <a:gd name="connsiteX114" fmla="*/ 265997 w 344587"/>
                <a:gd name="connsiteY114" fmla="*/ 234800 h 344988"/>
                <a:gd name="connsiteX115" fmla="*/ 269009 w 344587"/>
                <a:gd name="connsiteY115" fmla="*/ 230986 h 344988"/>
                <a:gd name="connsiteX116" fmla="*/ 273867 w 344587"/>
                <a:gd name="connsiteY116" fmla="*/ 231311 h 344988"/>
                <a:gd name="connsiteX117" fmla="*/ 271180 w 344587"/>
                <a:gd name="connsiteY117" fmla="*/ 227280 h 344988"/>
                <a:gd name="connsiteX118" fmla="*/ 272971 w 344587"/>
                <a:gd name="connsiteY118" fmla="*/ 222762 h 344988"/>
                <a:gd name="connsiteX119" fmla="*/ 268276 w 344587"/>
                <a:gd name="connsiteY119" fmla="*/ 224088 h 344988"/>
                <a:gd name="connsiteX120" fmla="*/ 80029 w 344587"/>
                <a:gd name="connsiteY120" fmla="*/ 220977 h 344988"/>
                <a:gd name="connsiteX121" fmla="*/ 76311 w 344587"/>
                <a:gd name="connsiteY121" fmla="*/ 224088 h 344988"/>
                <a:gd name="connsiteX122" fmla="*/ 71616 w 344587"/>
                <a:gd name="connsiteY122" fmla="*/ 222762 h 344988"/>
                <a:gd name="connsiteX123" fmla="*/ 73407 w 344587"/>
                <a:gd name="connsiteY123" fmla="*/ 227280 h 344988"/>
                <a:gd name="connsiteX124" fmla="*/ 70721 w 344587"/>
                <a:gd name="connsiteY124" fmla="*/ 231311 h 344988"/>
                <a:gd name="connsiteX125" fmla="*/ 75578 w 344587"/>
                <a:gd name="connsiteY125" fmla="*/ 230986 h 344988"/>
                <a:gd name="connsiteX126" fmla="*/ 78590 w 344587"/>
                <a:gd name="connsiteY126" fmla="*/ 234800 h 344988"/>
                <a:gd name="connsiteX127" fmla="*/ 79785 w 344587"/>
                <a:gd name="connsiteY127" fmla="*/ 230093 h 344988"/>
                <a:gd name="connsiteX128" fmla="*/ 84344 w 344587"/>
                <a:gd name="connsiteY128" fmla="*/ 228416 h 344988"/>
                <a:gd name="connsiteX129" fmla="*/ 80246 w 344587"/>
                <a:gd name="connsiteY129" fmla="*/ 225819 h 344988"/>
                <a:gd name="connsiteX130" fmla="*/ 271410 w 344587"/>
                <a:gd name="connsiteY130" fmla="*/ 204148 h 344988"/>
                <a:gd name="connsiteX131" fmla="*/ 272066 w 344587"/>
                <a:gd name="connsiteY131" fmla="*/ 208985 h 344988"/>
                <a:gd name="connsiteX132" fmla="*/ 268457 w 344587"/>
                <a:gd name="connsiteY132" fmla="*/ 212245 h 344988"/>
                <a:gd name="connsiteX133" fmla="*/ 273269 w 344587"/>
                <a:gd name="connsiteY133" fmla="*/ 213115 h 344988"/>
                <a:gd name="connsiteX134" fmla="*/ 275292 w 344587"/>
                <a:gd name="connsiteY134" fmla="*/ 217571 h 344988"/>
                <a:gd name="connsiteX135" fmla="*/ 277615 w 344587"/>
                <a:gd name="connsiteY135" fmla="*/ 213278 h 344988"/>
                <a:gd name="connsiteX136" fmla="*/ 282481 w 344587"/>
                <a:gd name="connsiteY136" fmla="*/ 212734 h 344988"/>
                <a:gd name="connsiteX137" fmla="*/ 279091 w 344587"/>
                <a:gd name="connsiteY137" fmla="*/ 209229 h 344988"/>
                <a:gd name="connsiteX138" fmla="*/ 280076 w 344587"/>
                <a:gd name="connsiteY138" fmla="*/ 204447 h 344988"/>
                <a:gd name="connsiteX139" fmla="*/ 275674 w 344587"/>
                <a:gd name="connsiteY139" fmla="*/ 206566 h 344988"/>
                <a:gd name="connsiteX140" fmla="*/ 73019 w 344587"/>
                <a:gd name="connsiteY140" fmla="*/ 204148 h 344988"/>
                <a:gd name="connsiteX141" fmla="*/ 68816 w 344587"/>
                <a:gd name="connsiteY141" fmla="*/ 206566 h 344988"/>
                <a:gd name="connsiteX142" fmla="*/ 64477 w 344587"/>
                <a:gd name="connsiteY142" fmla="*/ 204447 h 344988"/>
                <a:gd name="connsiteX143" fmla="*/ 65447 w 344587"/>
                <a:gd name="connsiteY143" fmla="*/ 209229 h 344988"/>
                <a:gd name="connsiteX144" fmla="*/ 62106 w 344587"/>
                <a:gd name="connsiteY144" fmla="*/ 212734 h 344988"/>
                <a:gd name="connsiteX145" fmla="*/ 66903 w 344587"/>
                <a:gd name="connsiteY145" fmla="*/ 213278 h 344988"/>
                <a:gd name="connsiteX146" fmla="*/ 69193 w 344587"/>
                <a:gd name="connsiteY146" fmla="*/ 217571 h 344988"/>
                <a:gd name="connsiteX147" fmla="*/ 71187 w 344587"/>
                <a:gd name="connsiteY147" fmla="*/ 213115 h 344988"/>
                <a:gd name="connsiteX148" fmla="*/ 75929 w 344587"/>
                <a:gd name="connsiteY148" fmla="*/ 212245 h 344988"/>
                <a:gd name="connsiteX149" fmla="*/ 72373 w 344587"/>
                <a:gd name="connsiteY149" fmla="*/ 208985 h 344988"/>
                <a:gd name="connsiteX150" fmla="*/ 283915 w 344587"/>
                <a:gd name="connsiteY150" fmla="*/ 185116 h 344988"/>
                <a:gd name="connsiteX151" fmla="*/ 279950 w 344587"/>
                <a:gd name="connsiteY151" fmla="*/ 187963 h 344988"/>
                <a:gd name="connsiteX152" fmla="*/ 275388 w 344587"/>
                <a:gd name="connsiteY152" fmla="*/ 186320 h 344988"/>
                <a:gd name="connsiteX153" fmla="*/ 276854 w 344587"/>
                <a:gd name="connsiteY153" fmla="*/ 191001 h 344988"/>
                <a:gd name="connsiteX154" fmla="*/ 273867 w 344587"/>
                <a:gd name="connsiteY154" fmla="*/ 194861 h 344988"/>
                <a:gd name="connsiteX155" fmla="*/ 278755 w 344587"/>
                <a:gd name="connsiteY155" fmla="*/ 194888 h 344988"/>
                <a:gd name="connsiteX156" fmla="*/ 281498 w 344587"/>
                <a:gd name="connsiteY156" fmla="*/ 198939 h 344988"/>
                <a:gd name="connsiteX157" fmla="*/ 283019 w 344587"/>
                <a:gd name="connsiteY157" fmla="*/ 194286 h 344988"/>
                <a:gd name="connsiteX158" fmla="*/ 287690 w 344587"/>
                <a:gd name="connsiteY158" fmla="*/ 192917 h 344988"/>
                <a:gd name="connsiteX159" fmla="*/ 283780 w 344587"/>
                <a:gd name="connsiteY159" fmla="*/ 190015 h 344988"/>
                <a:gd name="connsiteX160" fmla="*/ 60472 w 344587"/>
                <a:gd name="connsiteY160" fmla="*/ 185116 h 344988"/>
                <a:gd name="connsiteX161" fmla="*/ 60608 w 344587"/>
                <a:gd name="connsiteY161" fmla="*/ 190015 h 344988"/>
                <a:gd name="connsiteX162" fmla="*/ 56697 w 344587"/>
                <a:gd name="connsiteY162" fmla="*/ 192917 h 344988"/>
                <a:gd name="connsiteX163" fmla="*/ 61368 w 344587"/>
                <a:gd name="connsiteY163" fmla="*/ 194286 h 344988"/>
                <a:gd name="connsiteX164" fmla="*/ 62889 w 344587"/>
                <a:gd name="connsiteY164" fmla="*/ 198939 h 344988"/>
                <a:gd name="connsiteX165" fmla="*/ 65632 w 344587"/>
                <a:gd name="connsiteY165" fmla="*/ 194888 h 344988"/>
                <a:gd name="connsiteX166" fmla="*/ 70520 w 344587"/>
                <a:gd name="connsiteY166" fmla="*/ 194861 h 344988"/>
                <a:gd name="connsiteX167" fmla="*/ 67533 w 344587"/>
                <a:gd name="connsiteY167" fmla="*/ 191001 h 344988"/>
                <a:gd name="connsiteX168" fmla="*/ 68999 w 344587"/>
                <a:gd name="connsiteY168" fmla="*/ 186320 h 344988"/>
                <a:gd name="connsiteX169" fmla="*/ 64437 w 344587"/>
                <a:gd name="connsiteY169" fmla="*/ 187963 h 344988"/>
                <a:gd name="connsiteX170" fmla="*/ 284437 w 344587"/>
                <a:gd name="connsiteY170" fmla="*/ 165482 h 344988"/>
                <a:gd name="connsiteX171" fmla="*/ 281057 w 344587"/>
                <a:gd name="connsiteY171" fmla="*/ 168981 h 344988"/>
                <a:gd name="connsiteX172" fmla="*/ 276271 w 344587"/>
                <a:gd name="connsiteY172" fmla="*/ 168161 h 344988"/>
                <a:gd name="connsiteX173" fmla="*/ 278542 w 344587"/>
                <a:gd name="connsiteY173" fmla="*/ 172508 h 344988"/>
                <a:gd name="connsiteX174" fmla="*/ 276271 w 344587"/>
                <a:gd name="connsiteY174" fmla="*/ 176827 h 344988"/>
                <a:gd name="connsiteX175" fmla="*/ 281057 w 344587"/>
                <a:gd name="connsiteY175" fmla="*/ 176007 h 344988"/>
                <a:gd name="connsiteX176" fmla="*/ 284437 w 344587"/>
                <a:gd name="connsiteY176" fmla="*/ 179506 h 344988"/>
                <a:gd name="connsiteX177" fmla="*/ 285140 w 344587"/>
                <a:gd name="connsiteY177" fmla="*/ 174667 h 344988"/>
                <a:gd name="connsiteX178" fmla="*/ 289493 w 344587"/>
                <a:gd name="connsiteY178" fmla="*/ 172508 h 344988"/>
                <a:gd name="connsiteX179" fmla="*/ 285140 w 344587"/>
                <a:gd name="connsiteY179" fmla="*/ 170321 h 344988"/>
                <a:gd name="connsiteX180" fmla="*/ 60027 w 344587"/>
                <a:gd name="connsiteY180" fmla="*/ 165482 h 344988"/>
                <a:gd name="connsiteX181" fmla="*/ 59313 w 344587"/>
                <a:gd name="connsiteY181" fmla="*/ 170321 h 344988"/>
                <a:gd name="connsiteX182" fmla="*/ 54894 w 344587"/>
                <a:gd name="connsiteY182" fmla="*/ 172508 h 344988"/>
                <a:gd name="connsiteX183" fmla="*/ 59313 w 344587"/>
                <a:gd name="connsiteY183" fmla="*/ 174667 h 344988"/>
                <a:gd name="connsiteX184" fmla="*/ 60027 w 344587"/>
                <a:gd name="connsiteY184" fmla="*/ 179506 h 344988"/>
                <a:gd name="connsiteX185" fmla="*/ 63458 w 344587"/>
                <a:gd name="connsiteY185" fmla="*/ 176007 h 344988"/>
                <a:gd name="connsiteX186" fmla="*/ 68317 w 344587"/>
                <a:gd name="connsiteY186" fmla="*/ 176827 h 344988"/>
                <a:gd name="connsiteX187" fmla="*/ 66011 w 344587"/>
                <a:gd name="connsiteY187" fmla="*/ 172508 h 344988"/>
                <a:gd name="connsiteX188" fmla="*/ 68317 w 344587"/>
                <a:gd name="connsiteY188" fmla="*/ 168161 h 344988"/>
                <a:gd name="connsiteX189" fmla="*/ 63458 w 344587"/>
                <a:gd name="connsiteY189" fmla="*/ 168981 h 344988"/>
                <a:gd name="connsiteX190" fmla="*/ 281498 w 344587"/>
                <a:gd name="connsiteY190" fmla="*/ 146049 h 344988"/>
                <a:gd name="connsiteX191" fmla="*/ 278755 w 344587"/>
                <a:gd name="connsiteY191" fmla="*/ 150092 h 344988"/>
                <a:gd name="connsiteX192" fmla="*/ 273867 w 344587"/>
                <a:gd name="connsiteY192" fmla="*/ 150120 h 344988"/>
                <a:gd name="connsiteX193" fmla="*/ 276854 w 344587"/>
                <a:gd name="connsiteY193" fmla="*/ 153999 h 344988"/>
                <a:gd name="connsiteX194" fmla="*/ 275388 w 344587"/>
                <a:gd name="connsiteY194" fmla="*/ 158670 h 344988"/>
                <a:gd name="connsiteX195" fmla="*/ 279950 w 344587"/>
                <a:gd name="connsiteY195" fmla="*/ 157004 h 344988"/>
                <a:gd name="connsiteX196" fmla="*/ 283915 w 344587"/>
                <a:gd name="connsiteY196" fmla="*/ 159872 h 344988"/>
                <a:gd name="connsiteX197" fmla="*/ 283780 w 344587"/>
                <a:gd name="connsiteY197" fmla="*/ 154955 h 344988"/>
                <a:gd name="connsiteX198" fmla="*/ 287690 w 344587"/>
                <a:gd name="connsiteY198" fmla="*/ 152059 h 344988"/>
                <a:gd name="connsiteX199" fmla="*/ 283019 w 344587"/>
                <a:gd name="connsiteY199" fmla="*/ 150693 h 344988"/>
                <a:gd name="connsiteX200" fmla="*/ 62889 w 344587"/>
                <a:gd name="connsiteY200" fmla="*/ 146049 h 344988"/>
                <a:gd name="connsiteX201" fmla="*/ 61368 w 344587"/>
                <a:gd name="connsiteY201" fmla="*/ 150693 h 344988"/>
                <a:gd name="connsiteX202" fmla="*/ 56697 w 344587"/>
                <a:gd name="connsiteY202" fmla="*/ 152059 h 344988"/>
                <a:gd name="connsiteX203" fmla="*/ 60608 w 344587"/>
                <a:gd name="connsiteY203" fmla="*/ 154955 h 344988"/>
                <a:gd name="connsiteX204" fmla="*/ 60472 w 344587"/>
                <a:gd name="connsiteY204" fmla="*/ 159872 h 344988"/>
                <a:gd name="connsiteX205" fmla="*/ 64437 w 344587"/>
                <a:gd name="connsiteY205" fmla="*/ 157004 h 344988"/>
                <a:gd name="connsiteX206" fmla="*/ 68999 w 344587"/>
                <a:gd name="connsiteY206" fmla="*/ 158670 h 344988"/>
                <a:gd name="connsiteX207" fmla="*/ 67533 w 344587"/>
                <a:gd name="connsiteY207" fmla="*/ 153999 h 344988"/>
                <a:gd name="connsiteX208" fmla="*/ 70520 w 344587"/>
                <a:gd name="connsiteY208" fmla="*/ 150120 h 344988"/>
                <a:gd name="connsiteX209" fmla="*/ 65632 w 344587"/>
                <a:gd name="connsiteY209" fmla="*/ 150092 h 344988"/>
                <a:gd name="connsiteX210" fmla="*/ 275292 w 344587"/>
                <a:gd name="connsiteY210" fmla="*/ 127618 h 344988"/>
                <a:gd name="connsiteX211" fmla="*/ 273269 w 344587"/>
                <a:gd name="connsiteY211" fmla="*/ 132007 h 344988"/>
                <a:gd name="connsiteX212" fmla="*/ 268457 w 344587"/>
                <a:gd name="connsiteY212" fmla="*/ 132864 h 344988"/>
                <a:gd name="connsiteX213" fmla="*/ 272066 w 344587"/>
                <a:gd name="connsiteY213" fmla="*/ 136103 h 344988"/>
                <a:gd name="connsiteX214" fmla="*/ 271410 w 344587"/>
                <a:gd name="connsiteY214" fmla="*/ 140840 h 344988"/>
                <a:gd name="connsiteX215" fmla="*/ 275674 w 344587"/>
                <a:gd name="connsiteY215" fmla="*/ 138458 h 344988"/>
                <a:gd name="connsiteX216" fmla="*/ 280076 w 344587"/>
                <a:gd name="connsiteY216" fmla="*/ 140546 h 344988"/>
                <a:gd name="connsiteX217" fmla="*/ 279091 w 344587"/>
                <a:gd name="connsiteY217" fmla="*/ 135862 h 344988"/>
                <a:gd name="connsiteX218" fmla="*/ 282481 w 344587"/>
                <a:gd name="connsiteY218" fmla="*/ 132382 h 344988"/>
                <a:gd name="connsiteX219" fmla="*/ 277615 w 344587"/>
                <a:gd name="connsiteY219" fmla="*/ 131847 h 344988"/>
                <a:gd name="connsiteX220" fmla="*/ 69193 w 344587"/>
                <a:gd name="connsiteY220" fmla="*/ 127618 h 344988"/>
                <a:gd name="connsiteX221" fmla="*/ 66903 w 344587"/>
                <a:gd name="connsiteY221" fmla="*/ 131847 h 344988"/>
                <a:gd name="connsiteX222" fmla="*/ 62106 w 344587"/>
                <a:gd name="connsiteY222" fmla="*/ 132382 h 344988"/>
                <a:gd name="connsiteX223" fmla="*/ 65447 w 344587"/>
                <a:gd name="connsiteY223" fmla="*/ 135862 h 344988"/>
                <a:gd name="connsiteX224" fmla="*/ 64477 w 344587"/>
                <a:gd name="connsiteY224" fmla="*/ 140546 h 344988"/>
                <a:gd name="connsiteX225" fmla="*/ 68816 w 344587"/>
                <a:gd name="connsiteY225" fmla="*/ 138458 h 344988"/>
                <a:gd name="connsiteX226" fmla="*/ 73019 w 344587"/>
                <a:gd name="connsiteY226" fmla="*/ 140840 h 344988"/>
                <a:gd name="connsiteX227" fmla="*/ 72373 w 344587"/>
                <a:gd name="connsiteY227" fmla="*/ 136103 h 344988"/>
                <a:gd name="connsiteX228" fmla="*/ 75929 w 344587"/>
                <a:gd name="connsiteY228" fmla="*/ 132864 h 344988"/>
                <a:gd name="connsiteX229" fmla="*/ 71187 w 344587"/>
                <a:gd name="connsiteY229" fmla="*/ 132007 h 344988"/>
                <a:gd name="connsiteX230" fmla="*/ 265997 w 344587"/>
                <a:gd name="connsiteY230" fmla="*/ 110188 h 344988"/>
                <a:gd name="connsiteX231" fmla="*/ 264803 w 344587"/>
                <a:gd name="connsiteY231" fmla="*/ 114963 h 344988"/>
                <a:gd name="connsiteX232" fmla="*/ 260243 w 344587"/>
                <a:gd name="connsiteY232" fmla="*/ 116665 h 344988"/>
                <a:gd name="connsiteX233" fmla="*/ 264341 w 344587"/>
                <a:gd name="connsiteY233" fmla="*/ 119299 h 344988"/>
                <a:gd name="connsiteX234" fmla="*/ 264558 w 344587"/>
                <a:gd name="connsiteY234" fmla="*/ 124212 h 344988"/>
                <a:gd name="connsiteX235" fmla="*/ 268276 w 344587"/>
                <a:gd name="connsiteY235" fmla="*/ 121083 h 344988"/>
                <a:gd name="connsiteX236" fmla="*/ 272971 w 344587"/>
                <a:gd name="connsiteY236" fmla="*/ 122401 h 344988"/>
                <a:gd name="connsiteX237" fmla="*/ 271180 w 344587"/>
                <a:gd name="connsiteY237" fmla="*/ 117845 h 344988"/>
                <a:gd name="connsiteX238" fmla="*/ 273867 w 344587"/>
                <a:gd name="connsiteY238" fmla="*/ 113756 h 344988"/>
                <a:gd name="connsiteX239" fmla="*/ 269009 w 344587"/>
                <a:gd name="connsiteY239" fmla="*/ 114057 h 344988"/>
                <a:gd name="connsiteX240" fmla="*/ 78590 w 344587"/>
                <a:gd name="connsiteY240" fmla="*/ 110188 h 344988"/>
                <a:gd name="connsiteX241" fmla="*/ 75578 w 344587"/>
                <a:gd name="connsiteY241" fmla="*/ 114057 h 344988"/>
                <a:gd name="connsiteX242" fmla="*/ 70721 w 344587"/>
                <a:gd name="connsiteY242" fmla="*/ 113756 h 344988"/>
                <a:gd name="connsiteX243" fmla="*/ 73407 w 344587"/>
                <a:gd name="connsiteY243" fmla="*/ 117845 h 344988"/>
                <a:gd name="connsiteX244" fmla="*/ 71616 w 344587"/>
                <a:gd name="connsiteY244" fmla="*/ 122401 h 344988"/>
                <a:gd name="connsiteX245" fmla="*/ 76311 w 344587"/>
                <a:gd name="connsiteY245" fmla="*/ 121083 h 344988"/>
                <a:gd name="connsiteX246" fmla="*/ 80029 w 344587"/>
                <a:gd name="connsiteY246" fmla="*/ 124212 h 344988"/>
                <a:gd name="connsiteX247" fmla="*/ 80246 w 344587"/>
                <a:gd name="connsiteY247" fmla="*/ 119299 h 344988"/>
                <a:gd name="connsiteX248" fmla="*/ 84344 w 344587"/>
                <a:gd name="connsiteY248" fmla="*/ 116665 h 344988"/>
                <a:gd name="connsiteX249" fmla="*/ 79785 w 344587"/>
                <a:gd name="connsiteY249" fmla="*/ 114963 h 344988"/>
                <a:gd name="connsiteX250" fmla="*/ 172293 w 344587"/>
                <a:gd name="connsiteY250" fmla="*/ 107507 h 344988"/>
                <a:gd name="connsiteX251" fmla="*/ 164742 w 344587"/>
                <a:gd name="connsiteY251" fmla="*/ 112163 h 344988"/>
                <a:gd name="connsiteX252" fmla="*/ 148477 w 344587"/>
                <a:gd name="connsiteY252" fmla="*/ 145335 h 344988"/>
                <a:gd name="connsiteX253" fmla="*/ 111881 w 344587"/>
                <a:gd name="connsiteY253" fmla="*/ 150766 h 344988"/>
                <a:gd name="connsiteX254" fmla="*/ 104910 w 344587"/>
                <a:gd name="connsiteY254" fmla="*/ 156392 h 344988"/>
                <a:gd name="connsiteX255" fmla="*/ 107234 w 344587"/>
                <a:gd name="connsiteY255" fmla="*/ 165121 h 344988"/>
                <a:gd name="connsiteX256" fmla="*/ 133567 w 344587"/>
                <a:gd name="connsiteY256" fmla="*/ 190922 h 344988"/>
                <a:gd name="connsiteX257" fmla="*/ 127371 w 344587"/>
                <a:gd name="connsiteY257" fmla="*/ 227392 h 344988"/>
                <a:gd name="connsiteX258" fmla="*/ 130663 w 344587"/>
                <a:gd name="connsiteY258" fmla="*/ 235733 h 344988"/>
                <a:gd name="connsiteX259" fmla="*/ 135697 w 344587"/>
                <a:gd name="connsiteY259" fmla="*/ 237479 h 344988"/>
                <a:gd name="connsiteX260" fmla="*/ 139570 w 344587"/>
                <a:gd name="connsiteY260" fmla="*/ 236509 h 344988"/>
                <a:gd name="connsiteX261" fmla="*/ 172293 w 344587"/>
                <a:gd name="connsiteY261" fmla="*/ 219244 h 344988"/>
                <a:gd name="connsiteX262" fmla="*/ 205016 w 344587"/>
                <a:gd name="connsiteY262" fmla="*/ 236509 h 344988"/>
                <a:gd name="connsiteX263" fmla="*/ 209083 w 344587"/>
                <a:gd name="connsiteY263" fmla="*/ 237479 h 344988"/>
                <a:gd name="connsiteX264" fmla="*/ 213923 w 344587"/>
                <a:gd name="connsiteY264" fmla="*/ 235733 h 344988"/>
                <a:gd name="connsiteX265" fmla="*/ 217409 w 344587"/>
                <a:gd name="connsiteY265" fmla="*/ 227392 h 344988"/>
                <a:gd name="connsiteX266" fmla="*/ 211213 w 344587"/>
                <a:gd name="connsiteY266" fmla="*/ 190922 h 344988"/>
                <a:gd name="connsiteX267" fmla="*/ 237546 w 344587"/>
                <a:gd name="connsiteY267" fmla="*/ 165121 h 344988"/>
                <a:gd name="connsiteX268" fmla="*/ 239676 w 344587"/>
                <a:gd name="connsiteY268" fmla="*/ 156392 h 344988"/>
                <a:gd name="connsiteX269" fmla="*/ 232899 w 344587"/>
                <a:gd name="connsiteY269" fmla="*/ 150766 h 344988"/>
                <a:gd name="connsiteX270" fmla="*/ 196303 w 344587"/>
                <a:gd name="connsiteY270" fmla="*/ 145335 h 344988"/>
                <a:gd name="connsiteX271" fmla="*/ 180038 w 344587"/>
                <a:gd name="connsiteY271" fmla="*/ 112163 h 344988"/>
                <a:gd name="connsiteX272" fmla="*/ 172293 w 344587"/>
                <a:gd name="connsiteY272" fmla="*/ 107507 h 344988"/>
                <a:gd name="connsiteX273" fmla="*/ 253771 w 344587"/>
                <a:gd name="connsiteY273" fmla="*/ 94962 h 344988"/>
                <a:gd name="connsiteX274" fmla="*/ 253394 w 344587"/>
                <a:gd name="connsiteY274" fmla="*/ 99795 h 344988"/>
                <a:gd name="connsiteX275" fmla="*/ 249225 w 344587"/>
                <a:gd name="connsiteY275" fmla="*/ 102225 h 344988"/>
                <a:gd name="connsiteX276" fmla="*/ 253690 w 344587"/>
                <a:gd name="connsiteY276" fmla="*/ 104061 h 344988"/>
                <a:gd name="connsiteX277" fmla="*/ 254712 w 344587"/>
                <a:gd name="connsiteY277" fmla="*/ 108785 h 344988"/>
                <a:gd name="connsiteX278" fmla="*/ 257833 w 344587"/>
                <a:gd name="connsiteY278" fmla="*/ 105114 h 344988"/>
                <a:gd name="connsiteX279" fmla="*/ 262648 w 344587"/>
                <a:gd name="connsiteY279" fmla="*/ 105573 h 344988"/>
                <a:gd name="connsiteX280" fmla="*/ 260119 w 344587"/>
                <a:gd name="connsiteY280" fmla="*/ 101469 h 344988"/>
                <a:gd name="connsiteX281" fmla="*/ 262056 w 344587"/>
                <a:gd name="connsiteY281" fmla="*/ 97041 h 344988"/>
                <a:gd name="connsiteX282" fmla="*/ 257348 w 344587"/>
                <a:gd name="connsiteY282" fmla="*/ 98175 h 344988"/>
                <a:gd name="connsiteX283" fmla="*/ 90749 w 344587"/>
                <a:gd name="connsiteY283" fmla="*/ 94962 h 344988"/>
                <a:gd name="connsiteX284" fmla="*/ 87118 w 344587"/>
                <a:gd name="connsiteY284" fmla="*/ 98175 h 344988"/>
                <a:gd name="connsiteX285" fmla="*/ 82340 w 344587"/>
                <a:gd name="connsiteY285" fmla="*/ 97041 h 344988"/>
                <a:gd name="connsiteX286" fmla="*/ 84333 w 344587"/>
                <a:gd name="connsiteY286" fmla="*/ 101469 h 344988"/>
                <a:gd name="connsiteX287" fmla="*/ 81739 w 344587"/>
                <a:gd name="connsiteY287" fmla="*/ 105573 h 344988"/>
                <a:gd name="connsiteX288" fmla="*/ 86626 w 344587"/>
                <a:gd name="connsiteY288" fmla="*/ 105114 h 344988"/>
                <a:gd name="connsiteX289" fmla="*/ 89793 w 344587"/>
                <a:gd name="connsiteY289" fmla="*/ 108785 h 344988"/>
                <a:gd name="connsiteX290" fmla="*/ 90831 w 344587"/>
                <a:gd name="connsiteY290" fmla="*/ 104061 h 344988"/>
                <a:gd name="connsiteX291" fmla="*/ 95363 w 344587"/>
                <a:gd name="connsiteY291" fmla="*/ 102225 h 344988"/>
                <a:gd name="connsiteX292" fmla="*/ 91131 w 344587"/>
                <a:gd name="connsiteY292" fmla="*/ 99795 h 344988"/>
                <a:gd name="connsiteX293" fmla="*/ 239015 w 344587"/>
                <a:gd name="connsiteY293" fmla="*/ 81940 h 344988"/>
                <a:gd name="connsiteX294" fmla="*/ 239501 w 344587"/>
                <a:gd name="connsiteY294" fmla="*/ 86827 h 344988"/>
                <a:gd name="connsiteX295" fmla="*/ 235802 w 344587"/>
                <a:gd name="connsiteY295" fmla="*/ 89993 h 344988"/>
                <a:gd name="connsiteX296" fmla="*/ 240527 w 344587"/>
                <a:gd name="connsiteY296" fmla="*/ 91031 h 344988"/>
                <a:gd name="connsiteX297" fmla="*/ 242363 w 344587"/>
                <a:gd name="connsiteY297" fmla="*/ 95563 h 344988"/>
                <a:gd name="connsiteX298" fmla="*/ 244792 w 344587"/>
                <a:gd name="connsiteY298" fmla="*/ 91331 h 344988"/>
                <a:gd name="connsiteX299" fmla="*/ 249625 w 344587"/>
                <a:gd name="connsiteY299" fmla="*/ 90976 h 344988"/>
                <a:gd name="connsiteX300" fmla="*/ 246413 w 344587"/>
                <a:gd name="connsiteY300" fmla="*/ 87318 h 344988"/>
                <a:gd name="connsiteX301" fmla="*/ 247546 w 344587"/>
                <a:gd name="connsiteY301" fmla="*/ 82568 h 344988"/>
                <a:gd name="connsiteX302" fmla="*/ 243119 w 344587"/>
                <a:gd name="connsiteY302" fmla="*/ 84533 h 344988"/>
                <a:gd name="connsiteX303" fmla="*/ 105372 w 344587"/>
                <a:gd name="connsiteY303" fmla="*/ 81940 h 344988"/>
                <a:gd name="connsiteX304" fmla="*/ 101268 w 344587"/>
                <a:gd name="connsiteY304" fmla="*/ 84533 h 344988"/>
                <a:gd name="connsiteX305" fmla="*/ 96841 w 344587"/>
                <a:gd name="connsiteY305" fmla="*/ 82568 h 344988"/>
                <a:gd name="connsiteX306" fmla="*/ 97975 w 344587"/>
                <a:gd name="connsiteY306" fmla="*/ 87318 h 344988"/>
                <a:gd name="connsiteX307" fmla="*/ 94762 w 344587"/>
                <a:gd name="connsiteY307" fmla="*/ 90976 h 344988"/>
                <a:gd name="connsiteX308" fmla="*/ 99594 w 344587"/>
                <a:gd name="connsiteY308" fmla="*/ 91331 h 344988"/>
                <a:gd name="connsiteX309" fmla="*/ 102024 w 344587"/>
                <a:gd name="connsiteY309" fmla="*/ 95563 h 344988"/>
                <a:gd name="connsiteX310" fmla="*/ 103860 w 344587"/>
                <a:gd name="connsiteY310" fmla="*/ 91031 h 344988"/>
                <a:gd name="connsiteX311" fmla="*/ 108585 w 344587"/>
                <a:gd name="connsiteY311" fmla="*/ 89993 h 344988"/>
                <a:gd name="connsiteX312" fmla="*/ 104886 w 344587"/>
                <a:gd name="connsiteY312" fmla="*/ 86827 h 344988"/>
                <a:gd name="connsiteX313" fmla="*/ 230910 w 344587"/>
                <a:gd name="connsiteY313" fmla="*/ 70720 h 344988"/>
                <a:gd name="connsiteX314" fmla="*/ 226879 w 344587"/>
                <a:gd name="connsiteY314" fmla="*/ 73474 h 344988"/>
                <a:gd name="connsiteX315" fmla="*/ 222361 w 344587"/>
                <a:gd name="connsiteY315" fmla="*/ 71629 h 344988"/>
                <a:gd name="connsiteX316" fmla="*/ 223687 w 344587"/>
                <a:gd name="connsiteY316" fmla="*/ 76393 h 344988"/>
                <a:gd name="connsiteX317" fmla="*/ 220576 w 344587"/>
                <a:gd name="connsiteY317" fmla="*/ 80193 h 344988"/>
                <a:gd name="connsiteX318" fmla="*/ 225418 w 344587"/>
                <a:gd name="connsiteY318" fmla="*/ 80386 h 344988"/>
                <a:gd name="connsiteX319" fmla="*/ 228015 w 344587"/>
                <a:gd name="connsiteY319" fmla="*/ 84544 h 344988"/>
                <a:gd name="connsiteX320" fmla="*/ 229692 w 344587"/>
                <a:gd name="connsiteY320" fmla="*/ 79918 h 344988"/>
                <a:gd name="connsiteX321" fmla="*/ 234399 w 344587"/>
                <a:gd name="connsiteY321" fmla="*/ 78706 h 344988"/>
                <a:gd name="connsiteX322" fmla="*/ 230585 w 344587"/>
                <a:gd name="connsiteY322" fmla="*/ 75650 h 344988"/>
                <a:gd name="connsiteX323" fmla="*/ 113678 w 344587"/>
                <a:gd name="connsiteY323" fmla="*/ 70720 h 344988"/>
                <a:gd name="connsiteX324" fmla="*/ 114002 w 344587"/>
                <a:gd name="connsiteY324" fmla="*/ 75650 h 344988"/>
                <a:gd name="connsiteX325" fmla="*/ 110188 w 344587"/>
                <a:gd name="connsiteY325" fmla="*/ 78706 h 344988"/>
                <a:gd name="connsiteX326" fmla="*/ 114895 w 344587"/>
                <a:gd name="connsiteY326" fmla="*/ 79918 h 344988"/>
                <a:gd name="connsiteX327" fmla="*/ 116572 w 344587"/>
                <a:gd name="connsiteY327" fmla="*/ 84544 h 344988"/>
                <a:gd name="connsiteX328" fmla="*/ 119169 w 344587"/>
                <a:gd name="connsiteY328" fmla="*/ 80386 h 344988"/>
                <a:gd name="connsiteX329" fmla="*/ 124011 w 344587"/>
                <a:gd name="connsiteY329" fmla="*/ 80193 h 344988"/>
                <a:gd name="connsiteX330" fmla="*/ 120900 w 344587"/>
                <a:gd name="connsiteY330" fmla="*/ 76393 h 344988"/>
                <a:gd name="connsiteX331" fmla="*/ 122226 w 344587"/>
                <a:gd name="connsiteY331" fmla="*/ 71629 h 344988"/>
                <a:gd name="connsiteX332" fmla="*/ 117708 w 344587"/>
                <a:gd name="connsiteY332" fmla="*/ 73474 h 344988"/>
                <a:gd name="connsiteX333" fmla="*/ 212334 w 344587"/>
                <a:gd name="connsiteY333" fmla="*/ 62106 h 344988"/>
                <a:gd name="connsiteX334" fmla="*/ 208828 w 344587"/>
                <a:gd name="connsiteY334" fmla="*/ 65489 h 344988"/>
                <a:gd name="connsiteX335" fmla="*/ 204046 w 344587"/>
                <a:gd name="connsiteY335" fmla="*/ 64507 h 344988"/>
                <a:gd name="connsiteX336" fmla="*/ 206165 w 344587"/>
                <a:gd name="connsiteY336" fmla="*/ 68900 h 344988"/>
                <a:gd name="connsiteX337" fmla="*/ 203747 w 344587"/>
                <a:gd name="connsiteY337" fmla="*/ 73156 h 344988"/>
                <a:gd name="connsiteX338" fmla="*/ 208584 w 344587"/>
                <a:gd name="connsiteY338" fmla="*/ 72501 h 344988"/>
                <a:gd name="connsiteX339" fmla="*/ 211844 w 344587"/>
                <a:gd name="connsiteY339" fmla="*/ 76130 h 344988"/>
                <a:gd name="connsiteX340" fmla="*/ 212714 w 344587"/>
                <a:gd name="connsiteY340" fmla="*/ 71301 h 344988"/>
                <a:gd name="connsiteX341" fmla="*/ 217170 w 344587"/>
                <a:gd name="connsiteY341" fmla="*/ 69282 h 344988"/>
                <a:gd name="connsiteX342" fmla="*/ 212877 w 344587"/>
                <a:gd name="connsiteY342" fmla="*/ 66962 h 344988"/>
                <a:gd name="connsiteX343" fmla="*/ 132182 w 344587"/>
                <a:gd name="connsiteY343" fmla="*/ 62106 h 344988"/>
                <a:gd name="connsiteX344" fmla="*/ 131646 w 344587"/>
                <a:gd name="connsiteY344" fmla="*/ 66962 h 344988"/>
                <a:gd name="connsiteX345" fmla="*/ 127417 w 344587"/>
                <a:gd name="connsiteY345" fmla="*/ 69282 h 344988"/>
                <a:gd name="connsiteX346" fmla="*/ 131807 w 344587"/>
                <a:gd name="connsiteY346" fmla="*/ 71301 h 344988"/>
                <a:gd name="connsiteX347" fmla="*/ 132663 w 344587"/>
                <a:gd name="connsiteY347" fmla="*/ 76130 h 344988"/>
                <a:gd name="connsiteX348" fmla="*/ 135875 w 344587"/>
                <a:gd name="connsiteY348" fmla="*/ 72501 h 344988"/>
                <a:gd name="connsiteX349" fmla="*/ 140640 w 344587"/>
                <a:gd name="connsiteY349" fmla="*/ 73156 h 344988"/>
                <a:gd name="connsiteX350" fmla="*/ 138258 w 344587"/>
                <a:gd name="connsiteY350" fmla="*/ 68900 h 344988"/>
                <a:gd name="connsiteX351" fmla="*/ 140345 w 344587"/>
                <a:gd name="connsiteY351" fmla="*/ 64507 h 344988"/>
                <a:gd name="connsiteX352" fmla="*/ 135635 w 344587"/>
                <a:gd name="connsiteY352" fmla="*/ 65489 h 344988"/>
                <a:gd name="connsiteX353" fmla="*/ 192615 w 344587"/>
                <a:gd name="connsiteY353" fmla="*/ 56897 h 344988"/>
                <a:gd name="connsiteX354" fmla="*/ 189761 w 344587"/>
                <a:gd name="connsiteY354" fmla="*/ 60835 h 344988"/>
                <a:gd name="connsiteX355" fmla="*/ 184915 w 344587"/>
                <a:gd name="connsiteY355" fmla="*/ 60672 h 344988"/>
                <a:gd name="connsiteX356" fmla="*/ 187742 w 344587"/>
                <a:gd name="connsiteY356" fmla="*/ 64637 h 344988"/>
                <a:gd name="connsiteX357" fmla="*/ 186127 w 344587"/>
                <a:gd name="connsiteY357" fmla="*/ 69227 h 344988"/>
                <a:gd name="connsiteX358" fmla="*/ 190704 w 344587"/>
                <a:gd name="connsiteY358" fmla="*/ 67733 h 344988"/>
                <a:gd name="connsiteX359" fmla="*/ 194527 w 344587"/>
                <a:gd name="connsiteY359" fmla="*/ 70720 h 344988"/>
                <a:gd name="connsiteX360" fmla="*/ 194554 w 344587"/>
                <a:gd name="connsiteY360" fmla="*/ 65832 h 344988"/>
                <a:gd name="connsiteX361" fmla="*/ 198538 w 344587"/>
                <a:gd name="connsiteY361" fmla="*/ 63089 h 344988"/>
                <a:gd name="connsiteX362" fmla="*/ 193961 w 344587"/>
                <a:gd name="connsiteY362" fmla="*/ 61568 h 344988"/>
                <a:gd name="connsiteX363" fmla="*/ 151859 w 344587"/>
                <a:gd name="connsiteY363" fmla="*/ 56897 h 344988"/>
                <a:gd name="connsiteX364" fmla="*/ 150493 w 344587"/>
                <a:gd name="connsiteY364" fmla="*/ 61568 h 344988"/>
                <a:gd name="connsiteX365" fmla="*/ 145849 w 344587"/>
                <a:gd name="connsiteY365" fmla="*/ 63089 h 344988"/>
                <a:gd name="connsiteX366" fmla="*/ 149892 w 344587"/>
                <a:gd name="connsiteY366" fmla="*/ 65832 h 344988"/>
                <a:gd name="connsiteX367" fmla="*/ 149919 w 344587"/>
                <a:gd name="connsiteY367" fmla="*/ 70720 h 344988"/>
                <a:gd name="connsiteX368" fmla="*/ 153798 w 344587"/>
                <a:gd name="connsiteY368" fmla="*/ 67733 h 344988"/>
                <a:gd name="connsiteX369" fmla="*/ 158443 w 344587"/>
                <a:gd name="connsiteY369" fmla="*/ 69227 h 344988"/>
                <a:gd name="connsiteX370" fmla="*/ 156804 w 344587"/>
                <a:gd name="connsiteY370" fmla="*/ 64637 h 344988"/>
                <a:gd name="connsiteX371" fmla="*/ 159672 w 344587"/>
                <a:gd name="connsiteY371" fmla="*/ 60672 h 344988"/>
                <a:gd name="connsiteX372" fmla="*/ 154755 w 344587"/>
                <a:gd name="connsiteY372" fmla="*/ 60835 h 344988"/>
                <a:gd name="connsiteX373" fmla="*/ 172307 w 344587"/>
                <a:gd name="connsiteY373" fmla="*/ 55094 h 344988"/>
                <a:gd name="connsiteX374" fmla="*/ 170121 w 344587"/>
                <a:gd name="connsiteY374" fmla="*/ 59447 h 344988"/>
                <a:gd name="connsiteX375" fmla="*/ 165282 w 344587"/>
                <a:gd name="connsiteY375" fmla="*/ 60150 h 344988"/>
                <a:gd name="connsiteX376" fmla="*/ 168781 w 344587"/>
                <a:gd name="connsiteY376" fmla="*/ 63530 h 344988"/>
                <a:gd name="connsiteX377" fmla="*/ 167961 w 344587"/>
                <a:gd name="connsiteY377" fmla="*/ 68316 h 344988"/>
                <a:gd name="connsiteX378" fmla="*/ 172307 w 344587"/>
                <a:gd name="connsiteY378" fmla="*/ 66045 h 344988"/>
                <a:gd name="connsiteX379" fmla="*/ 176627 w 344587"/>
                <a:gd name="connsiteY379" fmla="*/ 68316 h 344988"/>
                <a:gd name="connsiteX380" fmla="*/ 175806 w 344587"/>
                <a:gd name="connsiteY380" fmla="*/ 63530 h 344988"/>
                <a:gd name="connsiteX381" fmla="*/ 179306 w 344587"/>
                <a:gd name="connsiteY381" fmla="*/ 60150 h 344988"/>
                <a:gd name="connsiteX382" fmla="*/ 174467 w 344587"/>
                <a:gd name="connsiteY382" fmla="*/ 59447 h 344988"/>
                <a:gd name="connsiteX383" fmla="*/ 171615 w 344587"/>
                <a:gd name="connsiteY383" fmla="*/ 48293 h 344988"/>
                <a:gd name="connsiteX384" fmla="*/ 293719 w 344587"/>
                <a:gd name="connsiteY384" fmla="*/ 170398 h 344988"/>
                <a:gd name="connsiteX385" fmla="*/ 171615 w 344587"/>
                <a:gd name="connsiteY385" fmla="*/ 292503 h 344988"/>
                <a:gd name="connsiteX386" fmla="*/ 49510 w 344587"/>
                <a:gd name="connsiteY386" fmla="*/ 170398 h 344988"/>
                <a:gd name="connsiteX387" fmla="*/ 171615 w 344587"/>
                <a:gd name="connsiteY387" fmla="*/ 48293 h 344988"/>
                <a:gd name="connsiteX388" fmla="*/ 171615 w 344587"/>
                <a:gd name="connsiteY388" fmla="*/ 34348 h 344988"/>
                <a:gd name="connsiteX389" fmla="*/ 35565 w 344587"/>
                <a:gd name="connsiteY389" fmla="*/ 170398 h 344988"/>
                <a:gd name="connsiteX390" fmla="*/ 171615 w 344587"/>
                <a:gd name="connsiteY390" fmla="*/ 306448 h 344988"/>
                <a:gd name="connsiteX391" fmla="*/ 307665 w 344587"/>
                <a:gd name="connsiteY391" fmla="*/ 170398 h 344988"/>
                <a:gd name="connsiteX392" fmla="*/ 171615 w 344587"/>
                <a:gd name="connsiteY392" fmla="*/ 34348 h 344988"/>
                <a:gd name="connsiteX393" fmla="*/ 172307 w 344587"/>
                <a:gd name="connsiteY393" fmla="*/ 0 h 344988"/>
                <a:gd name="connsiteX394" fmla="*/ 212700 w 344587"/>
                <a:gd name="connsiteY394" fmla="*/ 21468 h 344988"/>
                <a:gd name="connsiteX395" fmla="*/ 258434 w 344587"/>
                <a:gd name="connsiteY395" fmla="*/ 23124 h 344988"/>
                <a:gd name="connsiteX396" fmla="*/ 282724 w 344587"/>
                <a:gd name="connsiteY396" fmla="*/ 61936 h 344988"/>
                <a:gd name="connsiteX397" fmla="*/ 321490 w 344587"/>
                <a:gd name="connsiteY397" fmla="*/ 86254 h 344988"/>
                <a:gd name="connsiteX398" fmla="*/ 323144 w 344587"/>
                <a:gd name="connsiteY398" fmla="*/ 132040 h 344988"/>
                <a:gd name="connsiteX399" fmla="*/ 344587 w 344587"/>
                <a:gd name="connsiteY399" fmla="*/ 172508 h 344988"/>
                <a:gd name="connsiteX400" fmla="*/ 323144 w 344587"/>
                <a:gd name="connsiteY400" fmla="*/ 212975 h 344988"/>
                <a:gd name="connsiteX401" fmla="*/ 321490 w 344587"/>
                <a:gd name="connsiteY401" fmla="*/ 258734 h 344988"/>
                <a:gd name="connsiteX402" fmla="*/ 282724 w 344587"/>
                <a:gd name="connsiteY402" fmla="*/ 283052 h 344988"/>
                <a:gd name="connsiteX403" fmla="*/ 258434 w 344587"/>
                <a:gd name="connsiteY403" fmla="*/ 321891 h 344988"/>
                <a:gd name="connsiteX404" fmla="*/ 212700 w 344587"/>
                <a:gd name="connsiteY404" fmla="*/ 323520 h 344988"/>
                <a:gd name="connsiteX405" fmla="*/ 172307 w 344587"/>
                <a:gd name="connsiteY405" fmla="*/ 344988 h 344988"/>
                <a:gd name="connsiteX406" fmla="*/ 131887 w 344587"/>
                <a:gd name="connsiteY406" fmla="*/ 323520 h 344988"/>
                <a:gd name="connsiteX407" fmla="*/ 86154 w 344587"/>
                <a:gd name="connsiteY407" fmla="*/ 321891 h 344988"/>
                <a:gd name="connsiteX408" fmla="*/ 61864 w 344587"/>
                <a:gd name="connsiteY408" fmla="*/ 283052 h 344988"/>
                <a:gd name="connsiteX409" fmla="*/ 23097 w 344587"/>
                <a:gd name="connsiteY409" fmla="*/ 258734 h 344988"/>
                <a:gd name="connsiteX410" fmla="*/ 21444 w 344587"/>
                <a:gd name="connsiteY410" fmla="*/ 212975 h 344988"/>
                <a:gd name="connsiteX411" fmla="*/ 0 w 344587"/>
                <a:gd name="connsiteY411" fmla="*/ 172508 h 344988"/>
                <a:gd name="connsiteX412" fmla="*/ 21444 w 344587"/>
                <a:gd name="connsiteY412" fmla="*/ 132040 h 344988"/>
                <a:gd name="connsiteX413" fmla="*/ 23097 w 344587"/>
                <a:gd name="connsiteY413" fmla="*/ 86254 h 344988"/>
                <a:gd name="connsiteX414" fmla="*/ 61864 w 344587"/>
                <a:gd name="connsiteY414" fmla="*/ 61936 h 344988"/>
                <a:gd name="connsiteX415" fmla="*/ 86154 w 344587"/>
                <a:gd name="connsiteY415" fmla="*/ 23124 h 344988"/>
                <a:gd name="connsiteX416" fmla="*/ 131887 w 344587"/>
                <a:gd name="connsiteY416" fmla="*/ 21468 h 344988"/>
                <a:gd name="connsiteX417" fmla="*/ 172307 w 344587"/>
                <a:gd name="connsiteY417" fmla="*/ 0 h 34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44587" h="344988">
                  <a:moveTo>
                    <a:pt x="167961" y="276672"/>
                  </a:moveTo>
                  <a:lnTo>
                    <a:pt x="168781" y="281441"/>
                  </a:lnTo>
                  <a:lnTo>
                    <a:pt x="165282" y="284827"/>
                  </a:lnTo>
                  <a:lnTo>
                    <a:pt x="170121" y="285532"/>
                  </a:lnTo>
                  <a:lnTo>
                    <a:pt x="172307" y="289894"/>
                  </a:lnTo>
                  <a:lnTo>
                    <a:pt x="174467" y="285532"/>
                  </a:lnTo>
                  <a:lnTo>
                    <a:pt x="179306" y="284827"/>
                  </a:lnTo>
                  <a:lnTo>
                    <a:pt x="175806" y="281441"/>
                  </a:lnTo>
                  <a:lnTo>
                    <a:pt x="176627" y="276672"/>
                  </a:lnTo>
                  <a:lnTo>
                    <a:pt x="172307" y="278921"/>
                  </a:lnTo>
                  <a:close/>
                  <a:moveTo>
                    <a:pt x="194527" y="274468"/>
                  </a:moveTo>
                  <a:lnTo>
                    <a:pt x="190704" y="277391"/>
                  </a:lnTo>
                  <a:lnTo>
                    <a:pt x="186127" y="275943"/>
                  </a:lnTo>
                  <a:lnTo>
                    <a:pt x="187742" y="280475"/>
                  </a:lnTo>
                  <a:lnTo>
                    <a:pt x="184915" y="284363"/>
                  </a:lnTo>
                  <a:lnTo>
                    <a:pt x="189761" y="284229"/>
                  </a:lnTo>
                  <a:lnTo>
                    <a:pt x="192615" y="288091"/>
                  </a:lnTo>
                  <a:lnTo>
                    <a:pt x="193961" y="283479"/>
                  </a:lnTo>
                  <a:lnTo>
                    <a:pt x="198538" y="281977"/>
                  </a:lnTo>
                  <a:lnTo>
                    <a:pt x="194554" y="279268"/>
                  </a:lnTo>
                  <a:close/>
                  <a:moveTo>
                    <a:pt x="149919" y="274468"/>
                  </a:moveTo>
                  <a:lnTo>
                    <a:pt x="149892" y="279268"/>
                  </a:lnTo>
                  <a:lnTo>
                    <a:pt x="145849" y="281977"/>
                  </a:lnTo>
                  <a:lnTo>
                    <a:pt x="150493" y="283479"/>
                  </a:lnTo>
                  <a:lnTo>
                    <a:pt x="151859" y="288091"/>
                  </a:lnTo>
                  <a:lnTo>
                    <a:pt x="154755" y="284229"/>
                  </a:lnTo>
                  <a:lnTo>
                    <a:pt x="159672" y="284363"/>
                  </a:lnTo>
                  <a:lnTo>
                    <a:pt x="156804" y="280475"/>
                  </a:lnTo>
                  <a:lnTo>
                    <a:pt x="158443" y="275943"/>
                  </a:lnTo>
                  <a:lnTo>
                    <a:pt x="153798" y="277391"/>
                  </a:lnTo>
                  <a:close/>
                  <a:moveTo>
                    <a:pt x="211844" y="268858"/>
                  </a:moveTo>
                  <a:lnTo>
                    <a:pt x="208584" y="272467"/>
                  </a:lnTo>
                  <a:lnTo>
                    <a:pt x="203747" y="271811"/>
                  </a:lnTo>
                  <a:lnTo>
                    <a:pt x="206165" y="276075"/>
                  </a:lnTo>
                  <a:lnTo>
                    <a:pt x="204046" y="280504"/>
                  </a:lnTo>
                  <a:lnTo>
                    <a:pt x="208828" y="279492"/>
                  </a:lnTo>
                  <a:lnTo>
                    <a:pt x="212334" y="282882"/>
                  </a:lnTo>
                  <a:lnTo>
                    <a:pt x="212877" y="278016"/>
                  </a:lnTo>
                  <a:lnTo>
                    <a:pt x="217170" y="275693"/>
                  </a:lnTo>
                  <a:lnTo>
                    <a:pt x="212714" y="273670"/>
                  </a:lnTo>
                  <a:close/>
                  <a:moveTo>
                    <a:pt x="132663" y="268858"/>
                  </a:moveTo>
                  <a:lnTo>
                    <a:pt x="131807" y="273670"/>
                  </a:lnTo>
                  <a:lnTo>
                    <a:pt x="127417" y="275693"/>
                  </a:lnTo>
                  <a:lnTo>
                    <a:pt x="131646" y="278016"/>
                  </a:lnTo>
                  <a:lnTo>
                    <a:pt x="132182" y="282882"/>
                  </a:lnTo>
                  <a:lnTo>
                    <a:pt x="135635" y="279492"/>
                  </a:lnTo>
                  <a:lnTo>
                    <a:pt x="140345" y="280504"/>
                  </a:lnTo>
                  <a:lnTo>
                    <a:pt x="138258" y="276075"/>
                  </a:lnTo>
                  <a:lnTo>
                    <a:pt x="140640" y="271811"/>
                  </a:lnTo>
                  <a:lnTo>
                    <a:pt x="135875" y="272467"/>
                  </a:lnTo>
                  <a:close/>
                  <a:moveTo>
                    <a:pt x="228015" y="260644"/>
                  </a:moveTo>
                  <a:lnTo>
                    <a:pt x="225418" y="264769"/>
                  </a:lnTo>
                  <a:lnTo>
                    <a:pt x="220576" y="264959"/>
                  </a:lnTo>
                  <a:lnTo>
                    <a:pt x="223687" y="268704"/>
                  </a:lnTo>
                  <a:lnTo>
                    <a:pt x="222361" y="273372"/>
                  </a:lnTo>
                  <a:lnTo>
                    <a:pt x="226879" y="271581"/>
                  </a:lnTo>
                  <a:lnTo>
                    <a:pt x="230910" y="274268"/>
                  </a:lnTo>
                  <a:lnTo>
                    <a:pt x="230585" y="269410"/>
                  </a:lnTo>
                  <a:lnTo>
                    <a:pt x="234399" y="266398"/>
                  </a:lnTo>
                  <a:lnTo>
                    <a:pt x="229692" y="265204"/>
                  </a:lnTo>
                  <a:close/>
                  <a:moveTo>
                    <a:pt x="116572" y="260644"/>
                  </a:moveTo>
                  <a:lnTo>
                    <a:pt x="114895" y="265204"/>
                  </a:lnTo>
                  <a:lnTo>
                    <a:pt x="110188" y="266398"/>
                  </a:lnTo>
                  <a:lnTo>
                    <a:pt x="114002" y="269410"/>
                  </a:lnTo>
                  <a:lnTo>
                    <a:pt x="113678" y="274268"/>
                  </a:lnTo>
                  <a:lnTo>
                    <a:pt x="117708" y="271581"/>
                  </a:lnTo>
                  <a:lnTo>
                    <a:pt x="122226" y="273372"/>
                  </a:lnTo>
                  <a:lnTo>
                    <a:pt x="120900" y="268704"/>
                  </a:lnTo>
                  <a:lnTo>
                    <a:pt x="124011" y="264959"/>
                  </a:lnTo>
                  <a:lnTo>
                    <a:pt x="119169" y="264769"/>
                  </a:lnTo>
                  <a:close/>
                  <a:moveTo>
                    <a:pt x="242363" y="249625"/>
                  </a:moveTo>
                  <a:lnTo>
                    <a:pt x="240527" y="254100"/>
                  </a:lnTo>
                  <a:lnTo>
                    <a:pt x="235802" y="255124"/>
                  </a:lnTo>
                  <a:lnTo>
                    <a:pt x="239501" y="258251"/>
                  </a:lnTo>
                  <a:lnTo>
                    <a:pt x="239015" y="263048"/>
                  </a:lnTo>
                  <a:lnTo>
                    <a:pt x="243119" y="260515"/>
                  </a:lnTo>
                  <a:lnTo>
                    <a:pt x="247546" y="262455"/>
                  </a:lnTo>
                  <a:lnTo>
                    <a:pt x="246413" y="257766"/>
                  </a:lnTo>
                  <a:lnTo>
                    <a:pt x="249625" y="254154"/>
                  </a:lnTo>
                  <a:lnTo>
                    <a:pt x="244792" y="253776"/>
                  </a:lnTo>
                  <a:close/>
                  <a:moveTo>
                    <a:pt x="102024" y="249625"/>
                  </a:moveTo>
                  <a:lnTo>
                    <a:pt x="99594" y="253776"/>
                  </a:lnTo>
                  <a:lnTo>
                    <a:pt x="94762" y="254154"/>
                  </a:lnTo>
                  <a:lnTo>
                    <a:pt x="97975" y="257766"/>
                  </a:lnTo>
                  <a:lnTo>
                    <a:pt x="96841" y="262455"/>
                  </a:lnTo>
                  <a:lnTo>
                    <a:pt x="101268" y="260515"/>
                  </a:lnTo>
                  <a:lnTo>
                    <a:pt x="105372" y="263048"/>
                  </a:lnTo>
                  <a:lnTo>
                    <a:pt x="104886" y="258251"/>
                  </a:lnTo>
                  <a:lnTo>
                    <a:pt x="108585" y="255124"/>
                  </a:lnTo>
                  <a:lnTo>
                    <a:pt x="103860" y="254100"/>
                  </a:lnTo>
                  <a:close/>
                  <a:moveTo>
                    <a:pt x="254712" y="236203"/>
                  </a:moveTo>
                  <a:lnTo>
                    <a:pt x="253690" y="240928"/>
                  </a:lnTo>
                  <a:lnTo>
                    <a:pt x="249225" y="242764"/>
                  </a:lnTo>
                  <a:lnTo>
                    <a:pt x="253394" y="245220"/>
                  </a:lnTo>
                  <a:lnTo>
                    <a:pt x="253771" y="250026"/>
                  </a:lnTo>
                  <a:lnTo>
                    <a:pt x="257348" y="246813"/>
                  </a:lnTo>
                  <a:lnTo>
                    <a:pt x="262056" y="247974"/>
                  </a:lnTo>
                  <a:lnTo>
                    <a:pt x="260119" y="243520"/>
                  </a:lnTo>
                  <a:lnTo>
                    <a:pt x="262648" y="239416"/>
                  </a:lnTo>
                  <a:lnTo>
                    <a:pt x="257833" y="239902"/>
                  </a:lnTo>
                  <a:close/>
                  <a:moveTo>
                    <a:pt x="89793" y="236203"/>
                  </a:moveTo>
                  <a:lnTo>
                    <a:pt x="86626" y="239902"/>
                  </a:lnTo>
                  <a:lnTo>
                    <a:pt x="81739" y="239416"/>
                  </a:lnTo>
                  <a:lnTo>
                    <a:pt x="84333" y="243520"/>
                  </a:lnTo>
                  <a:lnTo>
                    <a:pt x="82340" y="247974"/>
                  </a:lnTo>
                  <a:lnTo>
                    <a:pt x="87118" y="246813"/>
                  </a:lnTo>
                  <a:lnTo>
                    <a:pt x="90749" y="250026"/>
                  </a:lnTo>
                  <a:lnTo>
                    <a:pt x="91131" y="245220"/>
                  </a:lnTo>
                  <a:lnTo>
                    <a:pt x="95363" y="242764"/>
                  </a:lnTo>
                  <a:lnTo>
                    <a:pt x="90831" y="240928"/>
                  </a:lnTo>
                  <a:close/>
                  <a:moveTo>
                    <a:pt x="264558" y="220977"/>
                  </a:moveTo>
                  <a:lnTo>
                    <a:pt x="264341" y="225819"/>
                  </a:lnTo>
                  <a:lnTo>
                    <a:pt x="260243" y="228416"/>
                  </a:lnTo>
                  <a:lnTo>
                    <a:pt x="264803" y="230093"/>
                  </a:lnTo>
                  <a:lnTo>
                    <a:pt x="265997" y="234800"/>
                  </a:lnTo>
                  <a:lnTo>
                    <a:pt x="269009" y="230986"/>
                  </a:lnTo>
                  <a:lnTo>
                    <a:pt x="273867" y="231311"/>
                  </a:lnTo>
                  <a:lnTo>
                    <a:pt x="271180" y="227280"/>
                  </a:lnTo>
                  <a:lnTo>
                    <a:pt x="272971" y="222762"/>
                  </a:lnTo>
                  <a:lnTo>
                    <a:pt x="268276" y="224088"/>
                  </a:lnTo>
                  <a:close/>
                  <a:moveTo>
                    <a:pt x="80029" y="220977"/>
                  </a:moveTo>
                  <a:lnTo>
                    <a:pt x="76311" y="224088"/>
                  </a:lnTo>
                  <a:lnTo>
                    <a:pt x="71616" y="222762"/>
                  </a:lnTo>
                  <a:lnTo>
                    <a:pt x="73407" y="227280"/>
                  </a:lnTo>
                  <a:lnTo>
                    <a:pt x="70721" y="231311"/>
                  </a:lnTo>
                  <a:lnTo>
                    <a:pt x="75578" y="230986"/>
                  </a:lnTo>
                  <a:lnTo>
                    <a:pt x="78590" y="234800"/>
                  </a:lnTo>
                  <a:lnTo>
                    <a:pt x="79785" y="230093"/>
                  </a:lnTo>
                  <a:lnTo>
                    <a:pt x="84344" y="228416"/>
                  </a:lnTo>
                  <a:lnTo>
                    <a:pt x="80246" y="225819"/>
                  </a:lnTo>
                  <a:close/>
                  <a:moveTo>
                    <a:pt x="271410" y="204148"/>
                  </a:moveTo>
                  <a:lnTo>
                    <a:pt x="272066" y="208985"/>
                  </a:lnTo>
                  <a:lnTo>
                    <a:pt x="268457" y="212245"/>
                  </a:lnTo>
                  <a:lnTo>
                    <a:pt x="273269" y="213115"/>
                  </a:lnTo>
                  <a:lnTo>
                    <a:pt x="275292" y="217571"/>
                  </a:lnTo>
                  <a:lnTo>
                    <a:pt x="277615" y="213278"/>
                  </a:lnTo>
                  <a:lnTo>
                    <a:pt x="282481" y="212734"/>
                  </a:lnTo>
                  <a:lnTo>
                    <a:pt x="279091" y="209229"/>
                  </a:lnTo>
                  <a:lnTo>
                    <a:pt x="280076" y="204447"/>
                  </a:lnTo>
                  <a:lnTo>
                    <a:pt x="275674" y="206566"/>
                  </a:lnTo>
                  <a:close/>
                  <a:moveTo>
                    <a:pt x="73019" y="204148"/>
                  </a:moveTo>
                  <a:lnTo>
                    <a:pt x="68816" y="206566"/>
                  </a:lnTo>
                  <a:lnTo>
                    <a:pt x="64477" y="204447"/>
                  </a:lnTo>
                  <a:lnTo>
                    <a:pt x="65447" y="209229"/>
                  </a:lnTo>
                  <a:lnTo>
                    <a:pt x="62106" y="212734"/>
                  </a:lnTo>
                  <a:lnTo>
                    <a:pt x="66903" y="213278"/>
                  </a:lnTo>
                  <a:lnTo>
                    <a:pt x="69193" y="217571"/>
                  </a:lnTo>
                  <a:lnTo>
                    <a:pt x="71187" y="213115"/>
                  </a:lnTo>
                  <a:lnTo>
                    <a:pt x="75929" y="212245"/>
                  </a:lnTo>
                  <a:lnTo>
                    <a:pt x="72373" y="208985"/>
                  </a:lnTo>
                  <a:close/>
                  <a:moveTo>
                    <a:pt x="283915" y="185116"/>
                  </a:moveTo>
                  <a:lnTo>
                    <a:pt x="279950" y="187963"/>
                  </a:lnTo>
                  <a:lnTo>
                    <a:pt x="275388" y="186320"/>
                  </a:lnTo>
                  <a:lnTo>
                    <a:pt x="276854" y="191001"/>
                  </a:lnTo>
                  <a:lnTo>
                    <a:pt x="273867" y="194861"/>
                  </a:lnTo>
                  <a:lnTo>
                    <a:pt x="278755" y="194888"/>
                  </a:lnTo>
                  <a:lnTo>
                    <a:pt x="281498" y="198939"/>
                  </a:lnTo>
                  <a:lnTo>
                    <a:pt x="283019" y="194286"/>
                  </a:lnTo>
                  <a:lnTo>
                    <a:pt x="287690" y="192917"/>
                  </a:lnTo>
                  <a:lnTo>
                    <a:pt x="283780" y="190015"/>
                  </a:lnTo>
                  <a:close/>
                  <a:moveTo>
                    <a:pt x="60472" y="185116"/>
                  </a:moveTo>
                  <a:lnTo>
                    <a:pt x="60608" y="190015"/>
                  </a:lnTo>
                  <a:lnTo>
                    <a:pt x="56697" y="192917"/>
                  </a:lnTo>
                  <a:lnTo>
                    <a:pt x="61368" y="194286"/>
                  </a:lnTo>
                  <a:lnTo>
                    <a:pt x="62889" y="198939"/>
                  </a:lnTo>
                  <a:lnTo>
                    <a:pt x="65632" y="194888"/>
                  </a:lnTo>
                  <a:lnTo>
                    <a:pt x="70520" y="194861"/>
                  </a:lnTo>
                  <a:lnTo>
                    <a:pt x="67533" y="191001"/>
                  </a:lnTo>
                  <a:lnTo>
                    <a:pt x="68999" y="186320"/>
                  </a:lnTo>
                  <a:lnTo>
                    <a:pt x="64437" y="187963"/>
                  </a:lnTo>
                  <a:close/>
                  <a:moveTo>
                    <a:pt x="284437" y="165482"/>
                  </a:moveTo>
                  <a:lnTo>
                    <a:pt x="281057" y="168981"/>
                  </a:lnTo>
                  <a:lnTo>
                    <a:pt x="276271" y="168161"/>
                  </a:lnTo>
                  <a:lnTo>
                    <a:pt x="278542" y="172508"/>
                  </a:lnTo>
                  <a:lnTo>
                    <a:pt x="276271" y="176827"/>
                  </a:lnTo>
                  <a:lnTo>
                    <a:pt x="281057" y="176007"/>
                  </a:lnTo>
                  <a:lnTo>
                    <a:pt x="284437" y="179506"/>
                  </a:lnTo>
                  <a:lnTo>
                    <a:pt x="285140" y="174667"/>
                  </a:lnTo>
                  <a:lnTo>
                    <a:pt x="289493" y="172508"/>
                  </a:lnTo>
                  <a:lnTo>
                    <a:pt x="285140" y="170321"/>
                  </a:lnTo>
                  <a:close/>
                  <a:moveTo>
                    <a:pt x="60027" y="165482"/>
                  </a:moveTo>
                  <a:lnTo>
                    <a:pt x="59313" y="170321"/>
                  </a:lnTo>
                  <a:lnTo>
                    <a:pt x="54894" y="172508"/>
                  </a:lnTo>
                  <a:lnTo>
                    <a:pt x="59313" y="174667"/>
                  </a:lnTo>
                  <a:lnTo>
                    <a:pt x="60027" y="179506"/>
                  </a:lnTo>
                  <a:lnTo>
                    <a:pt x="63458" y="176007"/>
                  </a:lnTo>
                  <a:lnTo>
                    <a:pt x="68317" y="176827"/>
                  </a:lnTo>
                  <a:lnTo>
                    <a:pt x="66011" y="172508"/>
                  </a:lnTo>
                  <a:lnTo>
                    <a:pt x="68317" y="168161"/>
                  </a:lnTo>
                  <a:lnTo>
                    <a:pt x="63458" y="168981"/>
                  </a:lnTo>
                  <a:close/>
                  <a:moveTo>
                    <a:pt x="281498" y="146049"/>
                  </a:moveTo>
                  <a:lnTo>
                    <a:pt x="278755" y="150092"/>
                  </a:lnTo>
                  <a:lnTo>
                    <a:pt x="273867" y="150120"/>
                  </a:lnTo>
                  <a:lnTo>
                    <a:pt x="276854" y="153999"/>
                  </a:lnTo>
                  <a:lnTo>
                    <a:pt x="275388" y="158670"/>
                  </a:lnTo>
                  <a:lnTo>
                    <a:pt x="279950" y="157004"/>
                  </a:lnTo>
                  <a:lnTo>
                    <a:pt x="283915" y="159872"/>
                  </a:lnTo>
                  <a:lnTo>
                    <a:pt x="283780" y="154955"/>
                  </a:lnTo>
                  <a:lnTo>
                    <a:pt x="287690" y="152059"/>
                  </a:lnTo>
                  <a:lnTo>
                    <a:pt x="283019" y="150693"/>
                  </a:lnTo>
                  <a:close/>
                  <a:moveTo>
                    <a:pt x="62889" y="146049"/>
                  </a:moveTo>
                  <a:lnTo>
                    <a:pt x="61368" y="150693"/>
                  </a:lnTo>
                  <a:lnTo>
                    <a:pt x="56697" y="152059"/>
                  </a:lnTo>
                  <a:lnTo>
                    <a:pt x="60608" y="154955"/>
                  </a:lnTo>
                  <a:lnTo>
                    <a:pt x="60472" y="159872"/>
                  </a:lnTo>
                  <a:lnTo>
                    <a:pt x="64437" y="157004"/>
                  </a:lnTo>
                  <a:lnTo>
                    <a:pt x="68999" y="158670"/>
                  </a:lnTo>
                  <a:lnTo>
                    <a:pt x="67533" y="153999"/>
                  </a:lnTo>
                  <a:lnTo>
                    <a:pt x="70520" y="150120"/>
                  </a:lnTo>
                  <a:lnTo>
                    <a:pt x="65632" y="150092"/>
                  </a:lnTo>
                  <a:close/>
                  <a:moveTo>
                    <a:pt x="275292" y="127618"/>
                  </a:moveTo>
                  <a:lnTo>
                    <a:pt x="273269" y="132007"/>
                  </a:lnTo>
                  <a:lnTo>
                    <a:pt x="268457" y="132864"/>
                  </a:lnTo>
                  <a:lnTo>
                    <a:pt x="272066" y="136103"/>
                  </a:lnTo>
                  <a:lnTo>
                    <a:pt x="271410" y="140840"/>
                  </a:lnTo>
                  <a:lnTo>
                    <a:pt x="275674" y="138458"/>
                  </a:lnTo>
                  <a:lnTo>
                    <a:pt x="280076" y="140546"/>
                  </a:lnTo>
                  <a:lnTo>
                    <a:pt x="279091" y="135862"/>
                  </a:lnTo>
                  <a:lnTo>
                    <a:pt x="282481" y="132382"/>
                  </a:lnTo>
                  <a:lnTo>
                    <a:pt x="277615" y="131847"/>
                  </a:lnTo>
                  <a:close/>
                  <a:moveTo>
                    <a:pt x="69193" y="127618"/>
                  </a:moveTo>
                  <a:lnTo>
                    <a:pt x="66903" y="131847"/>
                  </a:lnTo>
                  <a:lnTo>
                    <a:pt x="62106" y="132382"/>
                  </a:lnTo>
                  <a:lnTo>
                    <a:pt x="65447" y="135862"/>
                  </a:lnTo>
                  <a:lnTo>
                    <a:pt x="64477" y="140546"/>
                  </a:lnTo>
                  <a:lnTo>
                    <a:pt x="68816" y="138458"/>
                  </a:lnTo>
                  <a:lnTo>
                    <a:pt x="73019" y="140840"/>
                  </a:lnTo>
                  <a:lnTo>
                    <a:pt x="72373" y="136103"/>
                  </a:lnTo>
                  <a:lnTo>
                    <a:pt x="75929" y="132864"/>
                  </a:lnTo>
                  <a:lnTo>
                    <a:pt x="71187" y="132007"/>
                  </a:lnTo>
                  <a:close/>
                  <a:moveTo>
                    <a:pt x="265997" y="110188"/>
                  </a:moveTo>
                  <a:lnTo>
                    <a:pt x="264803" y="114963"/>
                  </a:lnTo>
                  <a:lnTo>
                    <a:pt x="260243" y="116665"/>
                  </a:lnTo>
                  <a:lnTo>
                    <a:pt x="264341" y="119299"/>
                  </a:lnTo>
                  <a:lnTo>
                    <a:pt x="264558" y="124212"/>
                  </a:lnTo>
                  <a:lnTo>
                    <a:pt x="268276" y="121083"/>
                  </a:lnTo>
                  <a:lnTo>
                    <a:pt x="272971" y="122401"/>
                  </a:lnTo>
                  <a:lnTo>
                    <a:pt x="271180" y="117845"/>
                  </a:lnTo>
                  <a:lnTo>
                    <a:pt x="273867" y="113756"/>
                  </a:lnTo>
                  <a:lnTo>
                    <a:pt x="269009" y="114057"/>
                  </a:lnTo>
                  <a:close/>
                  <a:moveTo>
                    <a:pt x="78590" y="110188"/>
                  </a:moveTo>
                  <a:lnTo>
                    <a:pt x="75578" y="114057"/>
                  </a:lnTo>
                  <a:lnTo>
                    <a:pt x="70721" y="113756"/>
                  </a:lnTo>
                  <a:lnTo>
                    <a:pt x="73407" y="117845"/>
                  </a:lnTo>
                  <a:lnTo>
                    <a:pt x="71616" y="122401"/>
                  </a:lnTo>
                  <a:lnTo>
                    <a:pt x="76311" y="121083"/>
                  </a:lnTo>
                  <a:lnTo>
                    <a:pt x="80029" y="124212"/>
                  </a:lnTo>
                  <a:lnTo>
                    <a:pt x="80246" y="119299"/>
                  </a:lnTo>
                  <a:lnTo>
                    <a:pt x="84344" y="116665"/>
                  </a:lnTo>
                  <a:lnTo>
                    <a:pt x="79785" y="114963"/>
                  </a:lnTo>
                  <a:close/>
                  <a:moveTo>
                    <a:pt x="172293" y="107507"/>
                  </a:moveTo>
                  <a:cubicBezTo>
                    <a:pt x="169195" y="107507"/>
                    <a:pt x="166097" y="109253"/>
                    <a:pt x="164742" y="112163"/>
                  </a:cubicBezTo>
                  <a:lnTo>
                    <a:pt x="148477" y="145335"/>
                  </a:lnTo>
                  <a:lnTo>
                    <a:pt x="111881" y="150766"/>
                  </a:lnTo>
                  <a:cubicBezTo>
                    <a:pt x="108589" y="151154"/>
                    <a:pt x="106072" y="153482"/>
                    <a:pt x="104910" y="156392"/>
                  </a:cubicBezTo>
                  <a:cubicBezTo>
                    <a:pt x="103942" y="159496"/>
                    <a:pt x="104910" y="162988"/>
                    <a:pt x="107234" y="165121"/>
                  </a:cubicBezTo>
                  <a:lnTo>
                    <a:pt x="133567" y="190922"/>
                  </a:lnTo>
                  <a:lnTo>
                    <a:pt x="127371" y="227392"/>
                  </a:lnTo>
                  <a:cubicBezTo>
                    <a:pt x="126790" y="230689"/>
                    <a:pt x="128146" y="233987"/>
                    <a:pt x="130663" y="235733"/>
                  </a:cubicBezTo>
                  <a:cubicBezTo>
                    <a:pt x="132212" y="236897"/>
                    <a:pt x="133955" y="237479"/>
                    <a:pt x="135697" y="237479"/>
                  </a:cubicBezTo>
                  <a:cubicBezTo>
                    <a:pt x="137053" y="237479"/>
                    <a:pt x="138408" y="237091"/>
                    <a:pt x="139570" y="236509"/>
                  </a:cubicBezTo>
                  <a:lnTo>
                    <a:pt x="172293" y="219244"/>
                  </a:lnTo>
                  <a:lnTo>
                    <a:pt x="205016" y="236509"/>
                  </a:lnTo>
                  <a:cubicBezTo>
                    <a:pt x="206372" y="237091"/>
                    <a:pt x="207727" y="237479"/>
                    <a:pt x="209083" y="237479"/>
                  </a:cubicBezTo>
                  <a:cubicBezTo>
                    <a:pt x="210825" y="237479"/>
                    <a:pt x="212568" y="236897"/>
                    <a:pt x="213923" y="235733"/>
                  </a:cubicBezTo>
                  <a:cubicBezTo>
                    <a:pt x="216634" y="233987"/>
                    <a:pt x="217990" y="230689"/>
                    <a:pt x="217409" y="227392"/>
                  </a:cubicBezTo>
                  <a:lnTo>
                    <a:pt x="211213" y="190922"/>
                  </a:lnTo>
                  <a:lnTo>
                    <a:pt x="237546" y="165121"/>
                  </a:lnTo>
                  <a:cubicBezTo>
                    <a:pt x="239870" y="162988"/>
                    <a:pt x="240644" y="159496"/>
                    <a:pt x="239676" y="156392"/>
                  </a:cubicBezTo>
                  <a:cubicBezTo>
                    <a:pt x="238708" y="153482"/>
                    <a:pt x="235997" y="151154"/>
                    <a:pt x="232899" y="150766"/>
                  </a:cubicBezTo>
                  <a:lnTo>
                    <a:pt x="196303" y="145335"/>
                  </a:lnTo>
                  <a:lnTo>
                    <a:pt x="180038" y="112163"/>
                  </a:lnTo>
                  <a:cubicBezTo>
                    <a:pt x="178489" y="109253"/>
                    <a:pt x="175585" y="107507"/>
                    <a:pt x="172293" y="107507"/>
                  </a:cubicBezTo>
                  <a:close/>
                  <a:moveTo>
                    <a:pt x="253771" y="94962"/>
                  </a:moveTo>
                  <a:lnTo>
                    <a:pt x="253394" y="99795"/>
                  </a:lnTo>
                  <a:lnTo>
                    <a:pt x="249225" y="102225"/>
                  </a:lnTo>
                  <a:lnTo>
                    <a:pt x="253690" y="104061"/>
                  </a:lnTo>
                  <a:lnTo>
                    <a:pt x="254712" y="108785"/>
                  </a:lnTo>
                  <a:lnTo>
                    <a:pt x="257833" y="105114"/>
                  </a:lnTo>
                  <a:lnTo>
                    <a:pt x="262648" y="105573"/>
                  </a:lnTo>
                  <a:lnTo>
                    <a:pt x="260119" y="101469"/>
                  </a:lnTo>
                  <a:lnTo>
                    <a:pt x="262056" y="97041"/>
                  </a:lnTo>
                  <a:lnTo>
                    <a:pt x="257348" y="98175"/>
                  </a:lnTo>
                  <a:close/>
                  <a:moveTo>
                    <a:pt x="90749" y="94962"/>
                  </a:moveTo>
                  <a:lnTo>
                    <a:pt x="87118" y="98175"/>
                  </a:lnTo>
                  <a:lnTo>
                    <a:pt x="82340" y="97041"/>
                  </a:lnTo>
                  <a:lnTo>
                    <a:pt x="84333" y="101469"/>
                  </a:lnTo>
                  <a:lnTo>
                    <a:pt x="81739" y="105573"/>
                  </a:lnTo>
                  <a:lnTo>
                    <a:pt x="86626" y="105114"/>
                  </a:lnTo>
                  <a:lnTo>
                    <a:pt x="89793" y="108785"/>
                  </a:lnTo>
                  <a:lnTo>
                    <a:pt x="90831" y="104061"/>
                  </a:lnTo>
                  <a:lnTo>
                    <a:pt x="95363" y="102225"/>
                  </a:lnTo>
                  <a:lnTo>
                    <a:pt x="91131" y="99795"/>
                  </a:lnTo>
                  <a:close/>
                  <a:moveTo>
                    <a:pt x="239015" y="81940"/>
                  </a:moveTo>
                  <a:lnTo>
                    <a:pt x="239501" y="86827"/>
                  </a:lnTo>
                  <a:lnTo>
                    <a:pt x="235802" y="89993"/>
                  </a:lnTo>
                  <a:lnTo>
                    <a:pt x="240527" y="91031"/>
                  </a:lnTo>
                  <a:lnTo>
                    <a:pt x="242363" y="95563"/>
                  </a:lnTo>
                  <a:lnTo>
                    <a:pt x="244792" y="91331"/>
                  </a:lnTo>
                  <a:lnTo>
                    <a:pt x="249625" y="90976"/>
                  </a:lnTo>
                  <a:lnTo>
                    <a:pt x="246413" y="87318"/>
                  </a:lnTo>
                  <a:lnTo>
                    <a:pt x="247546" y="82568"/>
                  </a:lnTo>
                  <a:lnTo>
                    <a:pt x="243119" y="84533"/>
                  </a:lnTo>
                  <a:close/>
                  <a:moveTo>
                    <a:pt x="105372" y="81940"/>
                  </a:moveTo>
                  <a:lnTo>
                    <a:pt x="101268" y="84533"/>
                  </a:lnTo>
                  <a:lnTo>
                    <a:pt x="96841" y="82568"/>
                  </a:lnTo>
                  <a:lnTo>
                    <a:pt x="97975" y="87318"/>
                  </a:lnTo>
                  <a:lnTo>
                    <a:pt x="94762" y="90976"/>
                  </a:lnTo>
                  <a:lnTo>
                    <a:pt x="99594" y="91331"/>
                  </a:lnTo>
                  <a:lnTo>
                    <a:pt x="102024" y="95563"/>
                  </a:lnTo>
                  <a:lnTo>
                    <a:pt x="103860" y="91031"/>
                  </a:lnTo>
                  <a:lnTo>
                    <a:pt x="108585" y="89993"/>
                  </a:lnTo>
                  <a:lnTo>
                    <a:pt x="104886" y="86827"/>
                  </a:lnTo>
                  <a:close/>
                  <a:moveTo>
                    <a:pt x="230910" y="70720"/>
                  </a:moveTo>
                  <a:lnTo>
                    <a:pt x="226879" y="73474"/>
                  </a:lnTo>
                  <a:lnTo>
                    <a:pt x="222361" y="71629"/>
                  </a:lnTo>
                  <a:lnTo>
                    <a:pt x="223687" y="76393"/>
                  </a:lnTo>
                  <a:lnTo>
                    <a:pt x="220576" y="80193"/>
                  </a:lnTo>
                  <a:lnTo>
                    <a:pt x="225418" y="80386"/>
                  </a:lnTo>
                  <a:lnTo>
                    <a:pt x="228015" y="84544"/>
                  </a:lnTo>
                  <a:lnTo>
                    <a:pt x="229692" y="79918"/>
                  </a:lnTo>
                  <a:lnTo>
                    <a:pt x="234399" y="78706"/>
                  </a:lnTo>
                  <a:lnTo>
                    <a:pt x="230585" y="75650"/>
                  </a:lnTo>
                  <a:close/>
                  <a:moveTo>
                    <a:pt x="113678" y="70720"/>
                  </a:moveTo>
                  <a:lnTo>
                    <a:pt x="114002" y="75650"/>
                  </a:lnTo>
                  <a:lnTo>
                    <a:pt x="110188" y="78706"/>
                  </a:lnTo>
                  <a:lnTo>
                    <a:pt x="114895" y="79918"/>
                  </a:lnTo>
                  <a:lnTo>
                    <a:pt x="116572" y="84544"/>
                  </a:lnTo>
                  <a:lnTo>
                    <a:pt x="119169" y="80386"/>
                  </a:lnTo>
                  <a:lnTo>
                    <a:pt x="124011" y="80193"/>
                  </a:lnTo>
                  <a:lnTo>
                    <a:pt x="120900" y="76393"/>
                  </a:lnTo>
                  <a:lnTo>
                    <a:pt x="122226" y="71629"/>
                  </a:lnTo>
                  <a:lnTo>
                    <a:pt x="117708" y="73474"/>
                  </a:lnTo>
                  <a:close/>
                  <a:moveTo>
                    <a:pt x="212334" y="62106"/>
                  </a:moveTo>
                  <a:lnTo>
                    <a:pt x="208828" y="65489"/>
                  </a:lnTo>
                  <a:lnTo>
                    <a:pt x="204046" y="64507"/>
                  </a:lnTo>
                  <a:lnTo>
                    <a:pt x="206165" y="68900"/>
                  </a:lnTo>
                  <a:lnTo>
                    <a:pt x="203747" y="73156"/>
                  </a:lnTo>
                  <a:lnTo>
                    <a:pt x="208584" y="72501"/>
                  </a:lnTo>
                  <a:lnTo>
                    <a:pt x="211844" y="76130"/>
                  </a:lnTo>
                  <a:lnTo>
                    <a:pt x="212714" y="71301"/>
                  </a:lnTo>
                  <a:lnTo>
                    <a:pt x="217170" y="69282"/>
                  </a:lnTo>
                  <a:lnTo>
                    <a:pt x="212877" y="66962"/>
                  </a:lnTo>
                  <a:close/>
                  <a:moveTo>
                    <a:pt x="132182" y="62106"/>
                  </a:moveTo>
                  <a:lnTo>
                    <a:pt x="131646" y="66962"/>
                  </a:lnTo>
                  <a:lnTo>
                    <a:pt x="127417" y="69282"/>
                  </a:lnTo>
                  <a:lnTo>
                    <a:pt x="131807" y="71301"/>
                  </a:lnTo>
                  <a:lnTo>
                    <a:pt x="132663" y="76130"/>
                  </a:lnTo>
                  <a:lnTo>
                    <a:pt x="135875" y="72501"/>
                  </a:lnTo>
                  <a:lnTo>
                    <a:pt x="140640" y="73156"/>
                  </a:lnTo>
                  <a:lnTo>
                    <a:pt x="138258" y="68900"/>
                  </a:lnTo>
                  <a:lnTo>
                    <a:pt x="140345" y="64507"/>
                  </a:lnTo>
                  <a:lnTo>
                    <a:pt x="135635" y="65489"/>
                  </a:lnTo>
                  <a:close/>
                  <a:moveTo>
                    <a:pt x="192615" y="56897"/>
                  </a:moveTo>
                  <a:lnTo>
                    <a:pt x="189761" y="60835"/>
                  </a:lnTo>
                  <a:lnTo>
                    <a:pt x="184915" y="60672"/>
                  </a:lnTo>
                  <a:lnTo>
                    <a:pt x="187742" y="64637"/>
                  </a:lnTo>
                  <a:lnTo>
                    <a:pt x="186127" y="69227"/>
                  </a:lnTo>
                  <a:lnTo>
                    <a:pt x="190704" y="67733"/>
                  </a:lnTo>
                  <a:lnTo>
                    <a:pt x="194527" y="70720"/>
                  </a:lnTo>
                  <a:lnTo>
                    <a:pt x="194554" y="65832"/>
                  </a:lnTo>
                  <a:lnTo>
                    <a:pt x="198538" y="63089"/>
                  </a:lnTo>
                  <a:lnTo>
                    <a:pt x="193961" y="61568"/>
                  </a:lnTo>
                  <a:close/>
                  <a:moveTo>
                    <a:pt x="151859" y="56897"/>
                  </a:moveTo>
                  <a:lnTo>
                    <a:pt x="150493" y="61568"/>
                  </a:lnTo>
                  <a:lnTo>
                    <a:pt x="145849" y="63089"/>
                  </a:lnTo>
                  <a:lnTo>
                    <a:pt x="149892" y="65832"/>
                  </a:lnTo>
                  <a:lnTo>
                    <a:pt x="149919" y="70720"/>
                  </a:lnTo>
                  <a:lnTo>
                    <a:pt x="153798" y="67733"/>
                  </a:lnTo>
                  <a:lnTo>
                    <a:pt x="158443" y="69227"/>
                  </a:lnTo>
                  <a:lnTo>
                    <a:pt x="156804" y="64637"/>
                  </a:lnTo>
                  <a:lnTo>
                    <a:pt x="159672" y="60672"/>
                  </a:lnTo>
                  <a:lnTo>
                    <a:pt x="154755" y="60835"/>
                  </a:lnTo>
                  <a:close/>
                  <a:moveTo>
                    <a:pt x="172307" y="55094"/>
                  </a:moveTo>
                  <a:lnTo>
                    <a:pt x="170121" y="59447"/>
                  </a:lnTo>
                  <a:lnTo>
                    <a:pt x="165282" y="60150"/>
                  </a:lnTo>
                  <a:lnTo>
                    <a:pt x="168781" y="63530"/>
                  </a:lnTo>
                  <a:lnTo>
                    <a:pt x="167961" y="68316"/>
                  </a:lnTo>
                  <a:lnTo>
                    <a:pt x="172307" y="66045"/>
                  </a:lnTo>
                  <a:lnTo>
                    <a:pt x="176627" y="68316"/>
                  </a:lnTo>
                  <a:lnTo>
                    <a:pt x="175806" y="63530"/>
                  </a:lnTo>
                  <a:lnTo>
                    <a:pt x="179306" y="60150"/>
                  </a:lnTo>
                  <a:lnTo>
                    <a:pt x="174467" y="59447"/>
                  </a:lnTo>
                  <a:close/>
                  <a:moveTo>
                    <a:pt x="171615" y="48293"/>
                  </a:moveTo>
                  <a:cubicBezTo>
                    <a:pt x="239051" y="48293"/>
                    <a:pt x="293719" y="102961"/>
                    <a:pt x="293719" y="170398"/>
                  </a:cubicBezTo>
                  <a:cubicBezTo>
                    <a:pt x="293719" y="237834"/>
                    <a:pt x="239051" y="292503"/>
                    <a:pt x="171615" y="292503"/>
                  </a:cubicBezTo>
                  <a:cubicBezTo>
                    <a:pt x="104179" y="292503"/>
                    <a:pt x="49510" y="237834"/>
                    <a:pt x="49510" y="170398"/>
                  </a:cubicBezTo>
                  <a:cubicBezTo>
                    <a:pt x="49510" y="102961"/>
                    <a:pt x="104179" y="48293"/>
                    <a:pt x="171615" y="48293"/>
                  </a:cubicBezTo>
                  <a:close/>
                  <a:moveTo>
                    <a:pt x="171615" y="34348"/>
                  </a:moveTo>
                  <a:cubicBezTo>
                    <a:pt x="96477" y="34348"/>
                    <a:pt x="35565" y="95260"/>
                    <a:pt x="35565" y="170398"/>
                  </a:cubicBezTo>
                  <a:cubicBezTo>
                    <a:pt x="35565" y="245536"/>
                    <a:pt x="96477" y="306448"/>
                    <a:pt x="171615" y="306448"/>
                  </a:cubicBezTo>
                  <a:cubicBezTo>
                    <a:pt x="246753" y="306448"/>
                    <a:pt x="307665" y="245536"/>
                    <a:pt x="307665" y="170398"/>
                  </a:cubicBezTo>
                  <a:cubicBezTo>
                    <a:pt x="307665" y="95260"/>
                    <a:pt x="246753" y="34348"/>
                    <a:pt x="171615" y="34348"/>
                  </a:cubicBezTo>
                  <a:close/>
                  <a:moveTo>
                    <a:pt x="172307" y="0"/>
                  </a:moveTo>
                  <a:cubicBezTo>
                    <a:pt x="186784" y="0"/>
                    <a:pt x="198956" y="17777"/>
                    <a:pt x="212700" y="21468"/>
                  </a:cubicBezTo>
                  <a:cubicBezTo>
                    <a:pt x="226580" y="25187"/>
                    <a:pt x="246018" y="15932"/>
                    <a:pt x="258434" y="23124"/>
                  </a:cubicBezTo>
                  <a:cubicBezTo>
                    <a:pt x="270768" y="30235"/>
                    <a:pt x="272476" y="51703"/>
                    <a:pt x="282724" y="61936"/>
                  </a:cubicBezTo>
                  <a:cubicBezTo>
                    <a:pt x="292944" y="72195"/>
                    <a:pt x="314387" y="73905"/>
                    <a:pt x="321490" y="86254"/>
                  </a:cubicBezTo>
                  <a:cubicBezTo>
                    <a:pt x="328674" y="98684"/>
                    <a:pt x="319430" y="118144"/>
                    <a:pt x="323144" y="132040"/>
                  </a:cubicBezTo>
                  <a:cubicBezTo>
                    <a:pt x="326831" y="145801"/>
                    <a:pt x="344587" y="158014"/>
                    <a:pt x="344587" y="172508"/>
                  </a:cubicBezTo>
                  <a:cubicBezTo>
                    <a:pt x="344587" y="187001"/>
                    <a:pt x="326831" y="199214"/>
                    <a:pt x="323144" y="212975"/>
                  </a:cubicBezTo>
                  <a:cubicBezTo>
                    <a:pt x="319430" y="226844"/>
                    <a:pt x="328674" y="246304"/>
                    <a:pt x="321490" y="258734"/>
                  </a:cubicBezTo>
                  <a:cubicBezTo>
                    <a:pt x="314387" y="271083"/>
                    <a:pt x="292944" y="272793"/>
                    <a:pt x="282724" y="283052"/>
                  </a:cubicBezTo>
                  <a:cubicBezTo>
                    <a:pt x="272476" y="293312"/>
                    <a:pt x="270768" y="314753"/>
                    <a:pt x="258434" y="321891"/>
                  </a:cubicBezTo>
                  <a:cubicBezTo>
                    <a:pt x="246018" y="329056"/>
                    <a:pt x="226580" y="319801"/>
                    <a:pt x="212700" y="323520"/>
                  </a:cubicBezTo>
                  <a:cubicBezTo>
                    <a:pt x="198956" y="327211"/>
                    <a:pt x="186784" y="344988"/>
                    <a:pt x="172307" y="344988"/>
                  </a:cubicBezTo>
                  <a:cubicBezTo>
                    <a:pt x="157804" y="344988"/>
                    <a:pt x="145632" y="327211"/>
                    <a:pt x="131887" y="323520"/>
                  </a:cubicBezTo>
                  <a:cubicBezTo>
                    <a:pt x="118007" y="319801"/>
                    <a:pt x="98570" y="329056"/>
                    <a:pt x="86154" y="321891"/>
                  </a:cubicBezTo>
                  <a:cubicBezTo>
                    <a:pt x="73819" y="314753"/>
                    <a:pt x="72111" y="293312"/>
                    <a:pt x="61864" y="283052"/>
                  </a:cubicBezTo>
                  <a:cubicBezTo>
                    <a:pt x="51644" y="272793"/>
                    <a:pt x="30200" y="271083"/>
                    <a:pt x="23097" y="258734"/>
                  </a:cubicBezTo>
                  <a:cubicBezTo>
                    <a:pt x="15913" y="246304"/>
                    <a:pt x="25158" y="226844"/>
                    <a:pt x="21444" y="212975"/>
                  </a:cubicBezTo>
                  <a:cubicBezTo>
                    <a:pt x="17757" y="199214"/>
                    <a:pt x="0" y="187001"/>
                    <a:pt x="0" y="172508"/>
                  </a:cubicBezTo>
                  <a:cubicBezTo>
                    <a:pt x="0" y="158014"/>
                    <a:pt x="17757" y="145801"/>
                    <a:pt x="21444" y="132040"/>
                  </a:cubicBezTo>
                  <a:cubicBezTo>
                    <a:pt x="25158" y="118144"/>
                    <a:pt x="15913" y="98684"/>
                    <a:pt x="23097" y="86254"/>
                  </a:cubicBezTo>
                  <a:cubicBezTo>
                    <a:pt x="30200" y="73905"/>
                    <a:pt x="51644" y="72195"/>
                    <a:pt x="61864" y="61936"/>
                  </a:cubicBezTo>
                  <a:cubicBezTo>
                    <a:pt x="72111" y="51703"/>
                    <a:pt x="73819" y="30235"/>
                    <a:pt x="86154" y="23124"/>
                  </a:cubicBezTo>
                  <a:cubicBezTo>
                    <a:pt x="98570" y="15932"/>
                    <a:pt x="118007" y="25187"/>
                    <a:pt x="131887" y="21468"/>
                  </a:cubicBezTo>
                  <a:cubicBezTo>
                    <a:pt x="145632" y="17777"/>
                    <a:pt x="157804" y="0"/>
                    <a:pt x="17230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352">
              <a:extLst>
                <a:ext uri="{FF2B5EF4-FFF2-40B4-BE49-F238E27FC236}">
                  <a16:creationId xmlns:a16="http://schemas.microsoft.com/office/drawing/2014/main" id="{02E74E3F-674C-468C-B05E-B8BF34A8A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6243" y="443760"/>
              <a:ext cx="145448" cy="207954"/>
            </a:xfrm>
            <a:custGeom>
              <a:avLst/>
              <a:gdLst>
                <a:gd name="T0" fmla="*/ 3234 w 5365"/>
                <a:gd name="T1" fmla="*/ 384 h 7662"/>
                <a:gd name="T2" fmla="*/ 1547 w 5365"/>
                <a:gd name="T3" fmla="*/ 444 h 7662"/>
                <a:gd name="T4" fmla="*/ 57 w 5365"/>
                <a:gd name="T5" fmla="*/ 1235 h 7662"/>
                <a:gd name="T6" fmla="*/ 0 w 5365"/>
                <a:gd name="T7" fmla="*/ 1233 h 7662"/>
                <a:gd name="T8" fmla="*/ 1722 w 5365"/>
                <a:gd name="T9" fmla="*/ 7662 h 7662"/>
                <a:gd name="T10" fmla="*/ 3185 w 5365"/>
                <a:gd name="T11" fmla="*/ 5834 h 7662"/>
                <a:gd name="T12" fmla="*/ 5365 w 5365"/>
                <a:gd name="T13" fmla="*/ 6686 h 7662"/>
                <a:gd name="T14" fmla="*/ 3574 w 5365"/>
                <a:gd name="T15" fmla="*/ 0 h 7662"/>
                <a:gd name="T16" fmla="*/ 3234 w 5365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5" h="7662">
                  <a:moveTo>
                    <a:pt x="3234" y="384"/>
                  </a:moveTo>
                  <a:cubicBezTo>
                    <a:pt x="2776" y="649"/>
                    <a:pt x="2059" y="307"/>
                    <a:pt x="1547" y="444"/>
                  </a:cubicBezTo>
                  <a:cubicBezTo>
                    <a:pt x="1040" y="580"/>
                    <a:pt x="591" y="1235"/>
                    <a:pt x="57" y="1235"/>
                  </a:cubicBezTo>
                  <a:cubicBezTo>
                    <a:pt x="37" y="1235"/>
                    <a:pt x="18" y="1235"/>
                    <a:pt x="0" y="1233"/>
                  </a:cubicBezTo>
                  <a:lnTo>
                    <a:pt x="1722" y="7662"/>
                  </a:lnTo>
                  <a:lnTo>
                    <a:pt x="3185" y="5834"/>
                  </a:lnTo>
                  <a:lnTo>
                    <a:pt x="5365" y="6686"/>
                  </a:lnTo>
                  <a:lnTo>
                    <a:pt x="3574" y="0"/>
                  </a:lnTo>
                  <a:cubicBezTo>
                    <a:pt x="3485" y="162"/>
                    <a:pt x="3380" y="300"/>
                    <a:pt x="3234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353">
              <a:extLst>
                <a:ext uri="{FF2B5EF4-FFF2-40B4-BE49-F238E27FC236}">
                  <a16:creationId xmlns:a16="http://schemas.microsoft.com/office/drawing/2014/main" id="{DAD1C763-E31E-4212-98CA-65F48FEFF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373" y="443760"/>
              <a:ext cx="145448" cy="207954"/>
            </a:xfrm>
            <a:custGeom>
              <a:avLst/>
              <a:gdLst>
                <a:gd name="T0" fmla="*/ 2131 w 5366"/>
                <a:gd name="T1" fmla="*/ 384 h 7662"/>
                <a:gd name="T2" fmla="*/ 3818 w 5366"/>
                <a:gd name="T3" fmla="*/ 444 h 7662"/>
                <a:gd name="T4" fmla="*/ 5308 w 5366"/>
                <a:gd name="T5" fmla="*/ 1235 h 7662"/>
                <a:gd name="T6" fmla="*/ 5366 w 5366"/>
                <a:gd name="T7" fmla="*/ 1233 h 7662"/>
                <a:gd name="T8" fmla="*/ 3643 w 5366"/>
                <a:gd name="T9" fmla="*/ 7662 h 7662"/>
                <a:gd name="T10" fmla="*/ 2180 w 5366"/>
                <a:gd name="T11" fmla="*/ 5834 h 7662"/>
                <a:gd name="T12" fmla="*/ 0 w 5366"/>
                <a:gd name="T13" fmla="*/ 6686 h 7662"/>
                <a:gd name="T14" fmla="*/ 1791 w 5366"/>
                <a:gd name="T15" fmla="*/ 0 h 7662"/>
                <a:gd name="T16" fmla="*/ 2131 w 5366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6" h="7662">
                  <a:moveTo>
                    <a:pt x="2131" y="384"/>
                  </a:moveTo>
                  <a:cubicBezTo>
                    <a:pt x="2589" y="649"/>
                    <a:pt x="3306" y="307"/>
                    <a:pt x="3818" y="444"/>
                  </a:cubicBezTo>
                  <a:cubicBezTo>
                    <a:pt x="4325" y="580"/>
                    <a:pt x="4774" y="1235"/>
                    <a:pt x="5308" y="1235"/>
                  </a:cubicBezTo>
                  <a:cubicBezTo>
                    <a:pt x="5328" y="1235"/>
                    <a:pt x="5347" y="1235"/>
                    <a:pt x="5366" y="1233"/>
                  </a:cubicBezTo>
                  <a:lnTo>
                    <a:pt x="3643" y="7662"/>
                  </a:lnTo>
                  <a:lnTo>
                    <a:pt x="2180" y="5834"/>
                  </a:lnTo>
                  <a:lnTo>
                    <a:pt x="0" y="6686"/>
                  </a:lnTo>
                  <a:lnTo>
                    <a:pt x="1791" y="0"/>
                  </a:lnTo>
                  <a:cubicBezTo>
                    <a:pt x="1880" y="162"/>
                    <a:pt x="1985" y="300"/>
                    <a:pt x="2131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AD2A1ED3-37E2-4CA7-9B30-8E6FAAECBB8C}"/>
              </a:ext>
            </a:extLst>
          </p:cNvPr>
          <p:cNvSpPr/>
          <p:nvPr/>
        </p:nvSpPr>
        <p:spPr>
          <a:xfrm>
            <a:off x="1922256" y="3872627"/>
            <a:ext cx="1811779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5400" b="1" cap="none" spc="0" dirty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</a:rPr>
              <a:t>ACTIF</a:t>
            </a:r>
          </a:p>
        </p:txBody>
      </p:sp>
    </p:spTree>
    <p:extLst>
      <p:ext uri="{BB962C8B-B14F-4D97-AF65-F5344CB8AC3E}">
        <p14:creationId xmlns:p14="http://schemas.microsoft.com/office/powerpoint/2010/main" val="384008256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E8F175C6-C15F-4DB0-8423-A1EF4AADC8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960121" y="960120"/>
            <a:ext cx="10271760" cy="4937759"/>
          </a:xfrm>
          <a:prstGeom prst="rect">
            <a:avLst/>
          </a:prstGeom>
          <a:solidFill>
            <a:schemeClr val="accent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232A2D28-A06C-48FD-ABB4-EB7E27B84308}"/>
              </a:ext>
            </a:extLst>
          </p:cNvPr>
          <p:cNvSpPr txBox="1"/>
          <p:nvPr/>
        </p:nvSpPr>
        <p:spPr>
          <a:xfrm>
            <a:off x="1189723" y="1023888"/>
            <a:ext cx="9812554" cy="621041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 fontScale="92500" lnSpcReduction="10000"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4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Les </a:t>
            </a:r>
            <a:r>
              <a:rPr lang="en-US" sz="4400" dirty="0" err="1">
                <a:solidFill>
                  <a:srgbClr val="FFFFFF"/>
                </a:solidFill>
                <a:latin typeface="+mj-lt"/>
                <a:ea typeface="+mj-ea"/>
                <a:cs typeface="+mj-cs"/>
              </a:rPr>
              <a:t>immobilisations</a:t>
            </a:r>
            <a:r>
              <a:rPr lang="en-US" sz="44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4400" dirty="0" err="1">
                <a:solidFill>
                  <a:srgbClr val="FFFFFF"/>
                </a:solidFill>
                <a:latin typeface="+mj-lt"/>
                <a:ea typeface="+mj-ea"/>
                <a:cs typeface="+mj-cs"/>
              </a:rPr>
              <a:t>corporelles</a:t>
            </a:r>
            <a:endParaRPr lang="en-US" sz="44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graphicFrame>
        <p:nvGraphicFramePr>
          <p:cNvPr id="6" name="Espace réservé du contenu 5">
            <a:extLst>
              <a:ext uri="{FF2B5EF4-FFF2-40B4-BE49-F238E27FC236}">
                <a16:creationId xmlns:a16="http://schemas.microsoft.com/office/drawing/2014/main" id="{4A6E514C-D3C4-4B29-BB5C-DB98C7CA574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16007984"/>
              </p:ext>
            </p:extLst>
          </p:nvPr>
        </p:nvGraphicFramePr>
        <p:xfrm>
          <a:off x="1019903" y="1644929"/>
          <a:ext cx="10152194" cy="40973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0806134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E8F175C6-C15F-4DB0-8423-A1EF4AADC8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960121" y="960120"/>
            <a:ext cx="10271760" cy="4937759"/>
          </a:xfrm>
          <a:prstGeom prst="rect">
            <a:avLst/>
          </a:prstGeom>
          <a:solidFill>
            <a:schemeClr val="accent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232A2D28-A06C-48FD-ABB4-EB7E27B84308}"/>
              </a:ext>
            </a:extLst>
          </p:cNvPr>
          <p:cNvSpPr txBox="1"/>
          <p:nvPr/>
        </p:nvSpPr>
        <p:spPr>
          <a:xfrm>
            <a:off x="1189723" y="1087656"/>
            <a:ext cx="9812554" cy="77665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4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Les </a:t>
            </a:r>
            <a:r>
              <a:rPr lang="en-US" sz="4400" dirty="0" err="1">
                <a:solidFill>
                  <a:srgbClr val="FFFFFF"/>
                </a:solidFill>
                <a:latin typeface="+mj-lt"/>
                <a:ea typeface="+mj-ea"/>
                <a:cs typeface="+mj-cs"/>
              </a:rPr>
              <a:t>immobilisations</a:t>
            </a:r>
            <a:r>
              <a:rPr lang="en-US" sz="44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4400" dirty="0" err="1">
                <a:solidFill>
                  <a:srgbClr val="FFFFFF"/>
                </a:solidFill>
                <a:latin typeface="+mj-lt"/>
                <a:ea typeface="+mj-ea"/>
                <a:cs typeface="+mj-cs"/>
              </a:rPr>
              <a:t>financières</a:t>
            </a:r>
            <a:endParaRPr lang="en-US" sz="44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graphicFrame>
        <p:nvGraphicFramePr>
          <p:cNvPr id="6" name="Espace réservé du contenu 5">
            <a:extLst>
              <a:ext uri="{FF2B5EF4-FFF2-40B4-BE49-F238E27FC236}">
                <a16:creationId xmlns:a16="http://schemas.microsoft.com/office/drawing/2014/main" id="{4A6E514C-D3C4-4B29-BB5C-DB98C7CA574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84804783"/>
              </p:ext>
            </p:extLst>
          </p:nvPr>
        </p:nvGraphicFramePr>
        <p:xfrm>
          <a:off x="1189722" y="1864312"/>
          <a:ext cx="9812555" cy="38141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0139053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E8F175C6-C15F-4DB0-8423-A1EF4AADC8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960121" y="960120"/>
            <a:ext cx="10271760" cy="4937759"/>
          </a:xfrm>
          <a:prstGeom prst="rect">
            <a:avLst/>
          </a:prstGeom>
          <a:solidFill>
            <a:schemeClr val="accent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232A2D28-A06C-48FD-ABB4-EB7E27B84308}"/>
              </a:ext>
            </a:extLst>
          </p:cNvPr>
          <p:cNvSpPr txBox="1"/>
          <p:nvPr/>
        </p:nvSpPr>
        <p:spPr>
          <a:xfrm>
            <a:off x="1189723" y="1087656"/>
            <a:ext cx="9812554" cy="77665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4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Les </a:t>
            </a:r>
            <a:r>
              <a:rPr lang="en-US" sz="4400" dirty="0" err="1">
                <a:solidFill>
                  <a:srgbClr val="FFFFFF"/>
                </a:solidFill>
                <a:latin typeface="+mj-lt"/>
                <a:ea typeface="+mj-ea"/>
                <a:cs typeface="+mj-cs"/>
              </a:rPr>
              <a:t>amortissements</a:t>
            </a:r>
            <a:r>
              <a:rPr lang="en-US" sz="44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 – les </a:t>
            </a:r>
            <a:r>
              <a:rPr lang="en-US" sz="4400" dirty="0" err="1">
                <a:solidFill>
                  <a:srgbClr val="FFFFFF"/>
                </a:solidFill>
                <a:latin typeface="+mj-lt"/>
                <a:ea typeface="+mj-ea"/>
                <a:cs typeface="+mj-cs"/>
              </a:rPr>
              <a:t>dépréciations</a:t>
            </a:r>
            <a:endParaRPr lang="en-US" sz="44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graphicFrame>
        <p:nvGraphicFramePr>
          <p:cNvPr id="6" name="Espace réservé du contenu 5">
            <a:extLst>
              <a:ext uri="{FF2B5EF4-FFF2-40B4-BE49-F238E27FC236}">
                <a16:creationId xmlns:a16="http://schemas.microsoft.com/office/drawing/2014/main" id="{4A6E514C-D3C4-4B29-BB5C-DB98C7CA574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01439029"/>
              </p:ext>
            </p:extLst>
          </p:nvPr>
        </p:nvGraphicFramePr>
        <p:xfrm>
          <a:off x="1189722" y="1864312"/>
          <a:ext cx="9812555" cy="38141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1364218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E8F175C6-C15F-4DB0-8423-A1EF4AADC8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960121" y="960120"/>
            <a:ext cx="10271760" cy="4937759"/>
          </a:xfrm>
          <a:prstGeom prst="rect">
            <a:avLst/>
          </a:prstGeom>
          <a:solidFill>
            <a:schemeClr val="accent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232A2D28-A06C-48FD-ABB4-EB7E27B84308}"/>
              </a:ext>
            </a:extLst>
          </p:cNvPr>
          <p:cNvSpPr txBox="1"/>
          <p:nvPr/>
        </p:nvSpPr>
        <p:spPr>
          <a:xfrm>
            <a:off x="1189723" y="1087656"/>
            <a:ext cx="9812554" cy="77665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 fontScale="92500"/>
          </a:bodyPr>
          <a:lstStyle/>
          <a:p>
            <a:pPr lvl="0" algn="l"/>
            <a:r>
              <a:rPr lang="fr-FR" sz="4400" kern="1200" dirty="0">
                <a:latin typeface="Arial" panose="020B0604020202020204" pitchFamily="34" charset="0"/>
                <a:cs typeface="Arial" panose="020B0604020202020204" pitchFamily="34" charset="0"/>
              </a:rPr>
              <a:t>Classe 3 : Comptes de stocks et en-cours</a:t>
            </a:r>
          </a:p>
        </p:txBody>
      </p:sp>
      <p:graphicFrame>
        <p:nvGraphicFramePr>
          <p:cNvPr id="6" name="Espace réservé du contenu 5">
            <a:extLst>
              <a:ext uri="{FF2B5EF4-FFF2-40B4-BE49-F238E27FC236}">
                <a16:creationId xmlns:a16="http://schemas.microsoft.com/office/drawing/2014/main" id="{4A6E514C-D3C4-4B29-BB5C-DB98C7CA574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35258121"/>
              </p:ext>
            </p:extLst>
          </p:nvPr>
        </p:nvGraphicFramePr>
        <p:xfrm>
          <a:off x="1189722" y="1864312"/>
          <a:ext cx="9812555" cy="38141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7373650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E8F175C6-C15F-4DB0-8423-A1EF4AADC8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960121" y="960120"/>
            <a:ext cx="10271760" cy="4937759"/>
          </a:xfrm>
          <a:prstGeom prst="rect">
            <a:avLst/>
          </a:prstGeom>
          <a:solidFill>
            <a:schemeClr val="accent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232A2D28-A06C-48FD-ABB4-EB7E27B84308}"/>
              </a:ext>
            </a:extLst>
          </p:cNvPr>
          <p:cNvSpPr txBox="1"/>
          <p:nvPr/>
        </p:nvSpPr>
        <p:spPr>
          <a:xfrm>
            <a:off x="1189723" y="1087656"/>
            <a:ext cx="9812554" cy="77665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/>
          </a:bodyPr>
          <a:lstStyle/>
          <a:p>
            <a:pPr lvl="0" algn="l"/>
            <a:r>
              <a:rPr lang="fr-FR" sz="4400" kern="1200" dirty="0">
                <a:latin typeface="Arial" panose="020B0604020202020204" pitchFamily="34" charset="0"/>
                <a:cs typeface="Arial" panose="020B0604020202020204" pitchFamily="34" charset="0"/>
              </a:rPr>
              <a:t>Classe 4 : Créances</a:t>
            </a:r>
          </a:p>
        </p:txBody>
      </p:sp>
      <p:graphicFrame>
        <p:nvGraphicFramePr>
          <p:cNvPr id="6" name="Espace réservé du contenu 5">
            <a:extLst>
              <a:ext uri="{FF2B5EF4-FFF2-40B4-BE49-F238E27FC236}">
                <a16:creationId xmlns:a16="http://schemas.microsoft.com/office/drawing/2014/main" id="{4A6E514C-D3C4-4B29-BB5C-DB98C7CA574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14842145"/>
              </p:ext>
            </p:extLst>
          </p:nvPr>
        </p:nvGraphicFramePr>
        <p:xfrm>
          <a:off x="1189722" y="1864312"/>
          <a:ext cx="9812555" cy="38141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5025581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E8F175C6-C15F-4DB0-8423-A1EF4AADC8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960121" y="960120"/>
            <a:ext cx="10271760" cy="4937759"/>
          </a:xfrm>
          <a:prstGeom prst="rect">
            <a:avLst/>
          </a:prstGeom>
          <a:solidFill>
            <a:schemeClr val="accent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232A2D28-A06C-48FD-ABB4-EB7E27B84308}"/>
              </a:ext>
            </a:extLst>
          </p:cNvPr>
          <p:cNvSpPr txBox="1"/>
          <p:nvPr/>
        </p:nvSpPr>
        <p:spPr>
          <a:xfrm>
            <a:off x="1189723" y="1087656"/>
            <a:ext cx="9812554" cy="77665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/>
          </a:bodyPr>
          <a:lstStyle/>
          <a:p>
            <a:pPr lvl="0" algn="l"/>
            <a:r>
              <a:rPr lang="fr-FR" sz="4400" kern="1200" dirty="0">
                <a:latin typeface="Arial" panose="020B0604020202020204" pitchFamily="34" charset="0"/>
                <a:cs typeface="Arial" panose="020B0604020202020204" pitchFamily="34" charset="0"/>
              </a:rPr>
              <a:t>Classe 5 : </a:t>
            </a:r>
            <a:r>
              <a:rPr lang="fr-FR" sz="4400" dirty="0" err="1">
                <a:latin typeface="Arial" panose="020B0604020202020204" pitchFamily="34" charset="0"/>
                <a:cs typeface="Arial" panose="020B0604020202020204" pitchFamily="34" charset="0"/>
              </a:rPr>
              <a:t>Disponibilites</a:t>
            </a:r>
            <a:endParaRPr lang="fr-FR" sz="4400" kern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Espace réservé du contenu 5">
            <a:extLst>
              <a:ext uri="{FF2B5EF4-FFF2-40B4-BE49-F238E27FC236}">
                <a16:creationId xmlns:a16="http://schemas.microsoft.com/office/drawing/2014/main" id="{4A6E514C-D3C4-4B29-BB5C-DB98C7CA574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53914604"/>
              </p:ext>
            </p:extLst>
          </p:nvPr>
        </p:nvGraphicFramePr>
        <p:xfrm>
          <a:off x="1189722" y="1864312"/>
          <a:ext cx="9812555" cy="38141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42311200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4" name="Rectangle 83">
            <a:extLst>
              <a:ext uri="{FF2B5EF4-FFF2-40B4-BE49-F238E27FC236}">
                <a16:creationId xmlns:a16="http://schemas.microsoft.com/office/drawing/2014/main" id="{F13C74B1-5B17-4795-BED0-7140497B44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517F6E-26E9-44E8-815E-774552D9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707" y="334971"/>
            <a:ext cx="8317208" cy="1947239"/>
          </a:xfrm>
          <a:prstGeom prst="ellipse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br>
              <a:rPr lang="en-US" sz="4800" dirty="0"/>
            </a:br>
            <a:r>
              <a:rPr lang="en-US" dirty="0"/>
              <a:t>La classification du PCG</a:t>
            </a:r>
            <a:endParaRPr lang="en-US" sz="4600" dirty="0"/>
          </a:p>
        </p:txBody>
      </p:sp>
      <p:sp>
        <p:nvSpPr>
          <p:cNvPr id="86" name="sketchy line">
            <a:extLst>
              <a:ext uri="{FF2B5EF4-FFF2-40B4-BE49-F238E27FC236}">
                <a16:creationId xmlns:a16="http://schemas.microsoft.com/office/drawing/2014/main" id="{D4974D33-8DC5-464E-8C6D-BE58F0669C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0080" y="2586994"/>
            <a:ext cx="3474720" cy="18288"/>
          </a:xfrm>
          <a:custGeom>
            <a:avLst/>
            <a:gdLst>
              <a:gd name="connsiteX0" fmla="*/ 0 w 3474720"/>
              <a:gd name="connsiteY0" fmla="*/ 0 h 18288"/>
              <a:gd name="connsiteX1" fmla="*/ 694944 w 3474720"/>
              <a:gd name="connsiteY1" fmla="*/ 0 h 18288"/>
              <a:gd name="connsiteX2" fmla="*/ 1355141 w 3474720"/>
              <a:gd name="connsiteY2" fmla="*/ 0 h 18288"/>
              <a:gd name="connsiteX3" fmla="*/ 2015338 w 3474720"/>
              <a:gd name="connsiteY3" fmla="*/ 0 h 18288"/>
              <a:gd name="connsiteX4" fmla="*/ 2779776 w 3474720"/>
              <a:gd name="connsiteY4" fmla="*/ 0 h 18288"/>
              <a:gd name="connsiteX5" fmla="*/ 3474720 w 3474720"/>
              <a:gd name="connsiteY5" fmla="*/ 0 h 18288"/>
              <a:gd name="connsiteX6" fmla="*/ 3474720 w 3474720"/>
              <a:gd name="connsiteY6" fmla="*/ 18288 h 18288"/>
              <a:gd name="connsiteX7" fmla="*/ 2779776 w 3474720"/>
              <a:gd name="connsiteY7" fmla="*/ 18288 h 18288"/>
              <a:gd name="connsiteX8" fmla="*/ 2189074 w 3474720"/>
              <a:gd name="connsiteY8" fmla="*/ 18288 h 18288"/>
              <a:gd name="connsiteX9" fmla="*/ 1528877 w 3474720"/>
              <a:gd name="connsiteY9" fmla="*/ 18288 h 18288"/>
              <a:gd name="connsiteX10" fmla="*/ 868680 w 3474720"/>
              <a:gd name="connsiteY10" fmla="*/ 18288 h 18288"/>
              <a:gd name="connsiteX11" fmla="*/ 0 w 3474720"/>
              <a:gd name="connsiteY11" fmla="*/ 18288 h 18288"/>
              <a:gd name="connsiteX12" fmla="*/ 0 w 3474720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474720" h="18288" fill="none" extrusionOk="0">
                <a:moveTo>
                  <a:pt x="0" y="0"/>
                </a:moveTo>
                <a:cubicBezTo>
                  <a:pt x="224454" y="-14544"/>
                  <a:pt x="495407" y="26540"/>
                  <a:pt x="694944" y="0"/>
                </a:cubicBezTo>
                <a:cubicBezTo>
                  <a:pt x="894481" y="-26540"/>
                  <a:pt x="1130063" y="24713"/>
                  <a:pt x="1355141" y="0"/>
                </a:cubicBezTo>
                <a:cubicBezTo>
                  <a:pt x="1580219" y="-24713"/>
                  <a:pt x="1820099" y="26695"/>
                  <a:pt x="2015338" y="0"/>
                </a:cubicBezTo>
                <a:cubicBezTo>
                  <a:pt x="2210577" y="-26695"/>
                  <a:pt x="2402045" y="165"/>
                  <a:pt x="2779776" y="0"/>
                </a:cubicBezTo>
                <a:cubicBezTo>
                  <a:pt x="3157507" y="-165"/>
                  <a:pt x="3286859" y="-15571"/>
                  <a:pt x="3474720" y="0"/>
                </a:cubicBezTo>
                <a:cubicBezTo>
                  <a:pt x="3474286" y="7551"/>
                  <a:pt x="3474253" y="9822"/>
                  <a:pt x="3474720" y="18288"/>
                </a:cubicBezTo>
                <a:cubicBezTo>
                  <a:pt x="3233904" y="29845"/>
                  <a:pt x="2945134" y="-5256"/>
                  <a:pt x="2779776" y="18288"/>
                </a:cubicBezTo>
                <a:cubicBezTo>
                  <a:pt x="2614418" y="41832"/>
                  <a:pt x="2339768" y="22709"/>
                  <a:pt x="2189074" y="18288"/>
                </a:cubicBezTo>
                <a:cubicBezTo>
                  <a:pt x="2038380" y="13867"/>
                  <a:pt x="1817434" y="-4947"/>
                  <a:pt x="1528877" y="18288"/>
                </a:cubicBezTo>
                <a:cubicBezTo>
                  <a:pt x="1240320" y="41523"/>
                  <a:pt x="1042447" y="37198"/>
                  <a:pt x="868680" y="18288"/>
                </a:cubicBezTo>
                <a:cubicBezTo>
                  <a:pt x="694913" y="-622"/>
                  <a:pt x="233232" y="44909"/>
                  <a:pt x="0" y="18288"/>
                </a:cubicBezTo>
                <a:cubicBezTo>
                  <a:pt x="60" y="11696"/>
                  <a:pt x="66" y="3758"/>
                  <a:pt x="0" y="0"/>
                </a:cubicBezTo>
                <a:close/>
              </a:path>
              <a:path w="3474720" h="18288" stroke="0" extrusionOk="0">
                <a:moveTo>
                  <a:pt x="0" y="0"/>
                </a:moveTo>
                <a:cubicBezTo>
                  <a:pt x="202328" y="-14716"/>
                  <a:pt x="332722" y="-11499"/>
                  <a:pt x="625450" y="0"/>
                </a:cubicBezTo>
                <a:cubicBezTo>
                  <a:pt x="918178" y="11499"/>
                  <a:pt x="1096688" y="5123"/>
                  <a:pt x="1389888" y="0"/>
                </a:cubicBezTo>
                <a:cubicBezTo>
                  <a:pt x="1683088" y="-5123"/>
                  <a:pt x="1835981" y="-14038"/>
                  <a:pt x="1980590" y="0"/>
                </a:cubicBezTo>
                <a:cubicBezTo>
                  <a:pt x="2125199" y="14038"/>
                  <a:pt x="2396099" y="-7203"/>
                  <a:pt x="2571293" y="0"/>
                </a:cubicBezTo>
                <a:cubicBezTo>
                  <a:pt x="2746487" y="7203"/>
                  <a:pt x="3041609" y="-12036"/>
                  <a:pt x="3474720" y="0"/>
                </a:cubicBezTo>
                <a:cubicBezTo>
                  <a:pt x="3474638" y="4406"/>
                  <a:pt x="3474631" y="9982"/>
                  <a:pt x="3474720" y="18288"/>
                </a:cubicBezTo>
                <a:cubicBezTo>
                  <a:pt x="3324873" y="21876"/>
                  <a:pt x="3136771" y="12587"/>
                  <a:pt x="2814523" y="18288"/>
                </a:cubicBezTo>
                <a:cubicBezTo>
                  <a:pt x="2492275" y="23989"/>
                  <a:pt x="2294402" y="47111"/>
                  <a:pt x="2154326" y="18288"/>
                </a:cubicBezTo>
                <a:cubicBezTo>
                  <a:pt x="2014250" y="-10535"/>
                  <a:pt x="1820317" y="33903"/>
                  <a:pt x="1494130" y="18288"/>
                </a:cubicBezTo>
                <a:cubicBezTo>
                  <a:pt x="1167943" y="2673"/>
                  <a:pt x="948432" y="14868"/>
                  <a:pt x="729691" y="18288"/>
                </a:cubicBezTo>
                <a:cubicBezTo>
                  <a:pt x="510950" y="21708"/>
                  <a:pt x="264032" y="24354"/>
                  <a:pt x="0" y="18288"/>
                </a:cubicBezTo>
                <a:cubicBezTo>
                  <a:pt x="189" y="14288"/>
                  <a:pt x="-703" y="374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DFEA2082-E7DE-4453-8158-54F380B94285}"/>
              </a:ext>
            </a:extLst>
          </p:cNvPr>
          <p:cNvSpPr txBox="1"/>
          <p:nvPr/>
        </p:nvSpPr>
        <p:spPr>
          <a:xfrm>
            <a:off x="640080" y="2872899"/>
            <a:ext cx="4243589" cy="33206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 dirty="0"/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FC9EF324-339C-4E46-9508-BF0C86AAC79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l="10828" r="22745" b="1"/>
          <a:stretch/>
        </p:blipFill>
        <p:spPr>
          <a:xfrm>
            <a:off x="7946888" y="10"/>
            <a:ext cx="4243589" cy="6857990"/>
          </a:xfrm>
          <a:custGeom>
            <a:avLst/>
            <a:gdLst/>
            <a:ahLst/>
            <a:cxnLst/>
            <a:rect l="l" t="t" r="r" b="b"/>
            <a:pathLst>
              <a:path w="6878775" h="6858000">
                <a:moveTo>
                  <a:pt x="1102973" y="0"/>
                </a:moveTo>
                <a:lnTo>
                  <a:pt x="1160688" y="0"/>
                </a:lnTo>
                <a:lnTo>
                  <a:pt x="983189" y="331786"/>
                </a:lnTo>
                <a:cubicBezTo>
                  <a:pt x="914866" y="469145"/>
                  <a:pt x="850355" y="608712"/>
                  <a:pt x="789261" y="750263"/>
                </a:cubicBezTo>
                <a:cubicBezTo>
                  <a:pt x="774307" y="784928"/>
                  <a:pt x="759992" y="819849"/>
                  <a:pt x="745295" y="854514"/>
                </a:cubicBezTo>
                <a:cubicBezTo>
                  <a:pt x="756682" y="845393"/>
                  <a:pt x="765489" y="833492"/>
                  <a:pt x="770857" y="819975"/>
                </a:cubicBezTo>
                <a:cubicBezTo>
                  <a:pt x="879943" y="589569"/>
                  <a:pt x="999605" y="365513"/>
                  <a:pt x="1131329" y="148742"/>
                </a:cubicBezTo>
                <a:lnTo>
                  <a:pt x="1227589" y="0"/>
                </a:lnTo>
                <a:lnTo>
                  <a:pt x="6878775" y="0"/>
                </a:lnTo>
                <a:lnTo>
                  <a:pt x="6878775" y="6858000"/>
                </a:lnTo>
                <a:lnTo>
                  <a:pt x="713521" y="6858000"/>
                </a:lnTo>
                <a:lnTo>
                  <a:pt x="625642" y="6670527"/>
                </a:lnTo>
                <a:cubicBezTo>
                  <a:pt x="507232" y="6398531"/>
                  <a:pt x="403083" y="6118381"/>
                  <a:pt x="312785" y="5830359"/>
                </a:cubicBezTo>
                <a:cubicBezTo>
                  <a:pt x="278149" y="5719759"/>
                  <a:pt x="248879" y="5607635"/>
                  <a:pt x="212198" y="5480401"/>
                </a:cubicBezTo>
                <a:cubicBezTo>
                  <a:pt x="212208" y="5491601"/>
                  <a:pt x="212803" y="5502788"/>
                  <a:pt x="213988" y="5513923"/>
                </a:cubicBezTo>
                <a:cubicBezTo>
                  <a:pt x="264089" y="5723695"/>
                  <a:pt x="307290" y="5935370"/>
                  <a:pt x="365826" y="6142729"/>
                </a:cubicBezTo>
                <a:cubicBezTo>
                  <a:pt x="433152" y="6380817"/>
                  <a:pt x="510068" y="6614016"/>
                  <a:pt x="597975" y="6841549"/>
                </a:cubicBezTo>
                <a:lnTo>
                  <a:pt x="604824" y="6858000"/>
                </a:lnTo>
                <a:lnTo>
                  <a:pt x="552056" y="6858000"/>
                </a:lnTo>
                <a:lnTo>
                  <a:pt x="539576" y="6828295"/>
                </a:lnTo>
                <a:cubicBezTo>
                  <a:pt x="380597" y="6414594"/>
                  <a:pt x="260223" y="5988893"/>
                  <a:pt x="171555" y="5552906"/>
                </a:cubicBezTo>
                <a:cubicBezTo>
                  <a:pt x="91163" y="5157998"/>
                  <a:pt x="43746" y="4758899"/>
                  <a:pt x="12305" y="4357388"/>
                </a:cubicBezTo>
                <a:cubicBezTo>
                  <a:pt x="-14281" y="4013908"/>
                  <a:pt x="4507" y="3672965"/>
                  <a:pt x="46684" y="3331516"/>
                </a:cubicBezTo>
                <a:cubicBezTo>
                  <a:pt x="127203" y="2664286"/>
                  <a:pt x="277819" y="2007265"/>
                  <a:pt x="496065" y="1371196"/>
                </a:cubicBezTo>
                <a:cubicBezTo>
                  <a:pt x="636273" y="966066"/>
                  <a:pt x="800445" y="573253"/>
                  <a:pt x="995723" y="196614"/>
                </a:cubicBezTo>
                <a:close/>
              </a:path>
            </a:pathLst>
          </a:cu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AE196125-F657-4A8D-BF6F-9D35E2A19BAA}"/>
              </a:ext>
            </a:extLst>
          </p:cNvPr>
          <p:cNvSpPr txBox="1"/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23" name="ZoneTexte 2">
            <a:extLst>
              <a:ext uri="{FF2B5EF4-FFF2-40B4-BE49-F238E27FC236}">
                <a16:creationId xmlns:a16="http://schemas.microsoft.com/office/drawing/2014/main" id="{61BA051E-0D20-4CC3-9958-C0CFDE297C40}"/>
              </a:ext>
            </a:extLst>
          </p:cNvPr>
          <p:cNvSpPr txBox="1"/>
          <p:nvPr/>
        </p:nvSpPr>
        <p:spPr>
          <a:xfrm>
            <a:off x="1179226" y="3092970"/>
            <a:ext cx="9833548" cy="26939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</p:txBody>
      </p:sp>
      <p:grpSp>
        <p:nvGrpSpPr>
          <p:cNvPr id="7" name="Awar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1C68EA-2299-4048-9768-29BE3CCCA72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0"/>
            <a:ext cx="344587" cy="542925"/>
            <a:chOff x="2585735" y="108789"/>
            <a:chExt cx="344587" cy="542925"/>
          </a:xfrm>
        </p:grpSpPr>
        <p:sp>
          <p:nvSpPr>
            <p:cNvPr id="8" name="Freeform: Shape 206">
              <a:extLst>
                <a:ext uri="{FF2B5EF4-FFF2-40B4-BE49-F238E27FC236}">
                  <a16:creationId xmlns:a16="http://schemas.microsoft.com/office/drawing/2014/main" id="{F1582718-4360-43D7-8A82-7C736EEF1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735" y="108789"/>
              <a:ext cx="344587" cy="344988"/>
            </a:xfrm>
            <a:custGeom>
              <a:avLst/>
              <a:gdLst>
                <a:gd name="connsiteX0" fmla="*/ 167961 w 344587"/>
                <a:gd name="connsiteY0" fmla="*/ 276672 h 344988"/>
                <a:gd name="connsiteX1" fmla="*/ 168781 w 344587"/>
                <a:gd name="connsiteY1" fmla="*/ 281441 h 344988"/>
                <a:gd name="connsiteX2" fmla="*/ 165282 w 344587"/>
                <a:gd name="connsiteY2" fmla="*/ 284827 h 344988"/>
                <a:gd name="connsiteX3" fmla="*/ 170121 w 344587"/>
                <a:gd name="connsiteY3" fmla="*/ 285532 h 344988"/>
                <a:gd name="connsiteX4" fmla="*/ 172307 w 344587"/>
                <a:gd name="connsiteY4" fmla="*/ 289894 h 344988"/>
                <a:gd name="connsiteX5" fmla="*/ 174467 w 344587"/>
                <a:gd name="connsiteY5" fmla="*/ 285532 h 344988"/>
                <a:gd name="connsiteX6" fmla="*/ 179306 w 344587"/>
                <a:gd name="connsiteY6" fmla="*/ 284827 h 344988"/>
                <a:gd name="connsiteX7" fmla="*/ 175806 w 344587"/>
                <a:gd name="connsiteY7" fmla="*/ 281441 h 344988"/>
                <a:gd name="connsiteX8" fmla="*/ 176627 w 344587"/>
                <a:gd name="connsiteY8" fmla="*/ 276672 h 344988"/>
                <a:gd name="connsiteX9" fmla="*/ 172307 w 344587"/>
                <a:gd name="connsiteY9" fmla="*/ 278921 h 344988"/>
                <a:gd name="connsiteX10" fmla="*/ 194527 w 344587"/>
                <a:gd name="connsiteY10" fmla="*/ 274468 h 344988"/>
                <a:gd name="connsiteX11" fmla="*/ 190704 w 344587"/>
                <a:gd name="connsiteY11" fmla="*/ 277391 h 344988"/>
                <a:gd name="connsiteX12" fmla="*/ 186127 w 344587"/>
                <a:gd name="connsiteY12" fmla="*/ 275943 h 344988"/>
                <a:gd name="connsiteX13" fmla="*/ 187742 w 344587"/>
                <a:gd name="connsiteY13" fmla="*/ 280475 h 344988"/>
                <a:gd name="connsiteX14" fmla="*/ 184915 w 344587"/>
                <a:gd name="connsiteY14" fmla="*/ 284363 h 344988"/>
                <a:gd name="connsiteX15" fmla="*/ 189761 w 344587"/>
                <a:gd name="connsiteY15" fmla="*/ 284229 h 344988"/>
                <a:gd name="connsiteX16" fmla="*/ 192615 w 344587"/>
                <a:gd name="connsiteY16" fmla="*/ 288091 h 344988"/>
                <a:gd name="connsiteX17" fmla="*/ 193961 w 344587"/>
                <a:gd name="connsiteY17" fmla="*/ 283479 h 344988"/>
                <a:gd name="connsiteX18" fmla="*/ 198538 w 344587"/>
                <a:gd name="connsiteY18" fmla="*/ 281977 h 344988"/>
                <a:gd name="connsiteX19" fmla="*/ 194554 w 344587"/>
                <a:gd name="connsiteY19" fmla="*/ 279268 h 344988"/>
                <a:gd name="connsiteX20" fmla="*/ 149919 w 344587"/>
                <a:gd name="connsiteY20" fmla="*/ 274468 h 344988"/>
                <a:gd name="connsiteX21" fmla="*/ 149892 w 344587"/>
                <a:gd name="connsiteY21" fmla="*/ 279268 h 344988"/>
                <a:gd name="connsiteX22" fmla="*/ 145849 w 344587"/>
                <a:gd name="connsiteY22" fmla="*/ 281977 h 344988"/>
                <a:gd name="connsiteX23" fmla="*/ 150493 w 344587"/>
                <a:gd name="connsiteY23" fmla="*/ 283479 h 344988"/>
                <a:gd name="connsiteX24" fmla="*/ 151859 w 344587"/>
                <a:gd name="connsiteY24" fmla="*/ 288091 h 344988"/>
                <a:gd name="connsiteX25" fmla="*/ 154755 w 344587"/>
                <a:gd name="connsiteY25" fmla="*/ 284229 h 344988"/>
                <a:gd name="connsiteX26" fmla="*/ 159672 w 344587"/>
                <a:gd name="connsiteY26" fmla="*/ 284363 h 344988"/>
                <a:gd name="connsiteX27" fmla="*/ 156804 w 344587"/>
                <a:gd name="connsiteY27" fmla="*/ 280475 h 344988"/>
                <a:gd name="connsiteX28" fmla="*/ 158443 w 344587"/>
                <a:gd name="connsiteY28" fmla="*/ 275943 h 344988"/>
                <a:gd name="connsiteX29" fmla="*/ 153798 w 344587"/>
                <a:gd name="connsiteY29" fmla="*/ 277391 h 344988"/>
                <a:gd name="connsiteX30" fmla="*/ 211844 w 344587"/>
                <a:gd name="connsiteY30" fmla="*/ 268858 h 344988"/>
                <a:gd name="connsiteX31" fmla="*/ 208584 w 344587"/>
                <a:gd name="connsiteY31" fmla="*/ 272467 h 344988"/>
                <a:gd name="connsiteX32" fmla="*/ 203747 w 344587"/>
                <a:gd name="connsiteY32" fmla="*/ 271811 h 344988"/>
                <a:gd name="connsiteX33" fmla="*/ 206165 w 344587"/>
                <a:gd name="connsiteY33" fmla="*/ 276075 h 344988"/>
                <a:gd name="connsiteX34" fmla="*/ 204046 w 344587"/>
                <a:gd name="connsiteY34" fmla="*/ 280504 h 344988"/>
                <a:gd name="connsiteX35" fmla="*/ 208828 w 344587"/>
                <a:gd name="connsiteY35" fmla="*/ 279492 h 344988"/>
                <a:gd name="connsiteX36" fmla="*/ 212334 w 344587"/>
                <a:gd name="connsiteY36" fmla="*/ 282882 h 344988"/>
                <a:gd name="connsiteX37" fmla="*/ 212877 w 344587"/>
                <a:gd name="connsiteY37" fmla="*/ 278016 h 344988"/>
                <a:gd name="connsiteX38" fmla="*/ 217170 w 344587"/>
                <a:gd name="connsiteY38" fmla="*/ 275693 h 344988"/>
                <a:gd name="connsiteX39" fmla="*/ 212714 w 344587"/>
                <a:gd name="connsiteY39" fmla="*/ 273670 h 344988"/>
                <a:gd name="connsiteX40" fmla="*/ 132663 w 344587"/>
                <a:gd name="connsiteY40" fmla="*/ 268858 h 344988"/>
                <a:gd name="connsiteX41" fmla="*/ 131807 w 344587"/>
                <a:gd name="connsiteY41" fmla="*/ 273670 h 344988"/>
                <a:gd name="connsiteX42" fmla="*/ 127417 w 344587"/>
                <a:gd name="connsiteY42" fmla="*/ 275693 h 344988"/>
                <a:gd name="connsiteX43" fmla="*/ 131646 w 344587"/>
                <a:gd name="connsiteY43" fmla="*/ 278016 h 344988"/>
                <a:gd name="connsiteX44" fmla="*/ 132182 w 344587"/>
                <a:gd name="connsiteY44" fmla="*/ 282882 h 344988"/>
                <a:gd name="connsiteX45" fmla="*/ 135635 w 344587"/>
                <a:gd name="connsiteY45" fmla="*/ 279492 h 344988"/>
                <a:gd name="connsiteX46" fmla="*/ 140345 w 344587"/>
                <a:gd name="connsiteY46" fmla="*/ 280504 h 344988"/>
                <a:gd name="connsiteX47" fmla="*/ 138258 w 344587"/>
                <a:gd name="connsiteY47" fmla="*/ 276075 h 344988"/>
                <a:gd name="connsiteX48" fmla="*/ 140640 w 344587"/>
                <a:gd name="connsiteY48" fmla="*/ 271811 h 344988"/>
                <a:gd name="connsiteX49" fmla="*/ 135875 w 344587"/>
                <a:gd name="connsiteY49" fmla="*/ 272467 h 344988"/>
                <a:gd name="connsiteX50" fmla="*/ 228015 w 344587"/>
                <a:gd name="connsiteY50" fmla="*/ 260644 h 344988"/>
                <a:gd name="connsiteX51" fmla="*/ 225418 w 344587"/>
                <a:gd name="connsiteY51" fmla="*/ 264769 h 344988"/>
                <a:gd name="connsiteX52" fmla="*/ 220576 w 344587"/>
                <a:gd name="connsiteY52" fmla="*/ 264959 h 344988"/>
                <a:gd name="connsiteX53" fmla="*/ 223687 w 344587"/>
                <a:gd name="connsiteY53" fmla="*/ 268704 h 344988"/>
                <a:gd name="connsiteX54" fmla="*/ 222361 w 344587"/>
                <a:gd name="connsiteY54" fmla="*/ 273372 h 344988"/>
                <a:gd name="connsiteX55" fmla="*/ 226879 w 344587"/>
                <a:gd name="connsiteY55" fmla="*/ 271581 h 344988"/>
                <a:gd name="connsiteX56" fmla="*/ 230910 w 344587"/>
                <a:gd name="connsiteY56" fmla="*/ 274268 h 344988"/>
                <a:gd name="connsiteX57" fmla="*/ 230585 w 344587"/>
                <a:gd name="connsiteY57" fmla="*/ 269410 h 344988"/>
                <a:gd name="connsiteX58" fmla="*/ 234399 w 344587"/>
                <a:gd name="connsiteY58" fmla="*/ 266398 h 344988"/>
                <a:gd name="connsiteX59" fmla="*/ 229692 w 344587"/>
                <a:gd name="connsiteY59" fmla="*/ 265204 h 344988"/>
                <a:gd name="connsiteX60" fmla="*/ 116572 w 344587"/>
                <a:gd name="connsiteY60" fmla="*/ 260644 h 344988"/>
                <a:gd name="connsiteX61" fmla="*/ 114895 w 344587"/>
                <a:gd name="connsiteY61" fmla="*/ 265204 h 344988"/>
                <a:gd name="connsiteX62" fmla="*/ 110188 w 344587"/>
                <a:gd name="connsiteY62" fmla="*/ 266398 h 344988"/>
                <a:gd name="connsiteX63" fmla="*/ 114002 w 344587"/>
                <a:gd name="connsiteY63" fmla="*/ 269410 h 344988"/>
                <a:gd name="connsiteX64" fmla="*/ 113678 w 344587"/>
                <a:gd name="connsiteY64" fmla="*/ 274268 h 344988"/>
                <a:gd name="connsiteX65" fmla="*/ 117708 w 344587"/>
                <a:gd name="connsiteY65" fmla="*/ 271581 h 344988"/>
                <a:gd name="connsiteX66" fmla="*/ 122226 w 344587"/>
                <a:gd name="connsiteY66" fmla="*/ 273372 h 344988"/>
                <a:gd name="connsiteX67" fmla="*/ 120900 w 344587"/>
                <a:gd name="connsiteY67" fmla="*/ 268704 h 344988"/>
                <a:gd name="connsiteX68" fmla="*/ 124011 w 344587"/>
                <a:gd name="connsiteY68" fmla="*/ 264959 h 344988"/>
                <a:gd name="connsiteX69" fmla="*/ 119169 w 344587"/>
                <a:gd name="connsiteY69" fmla="*/ 264769 h 344988"/>
                <a:gd name="connsiteX70" fmla="*/ 242363 w 344587"/>
                <a:gd name="connsiteY70" fmla="*/ 249625 h 344988"/>
                <a:gd name="connsiteX71" fmla="*/ 240527 w 344587"/>
                <a:gd name="connsiteY71" fmla="*/ 254100 h 344988"/>
                <a:gd name="connsiteX72" fmla="*/ 235802 w 344587"/>
                <a:gd name="connsiteY72" fmla="*/ 255124 h 344988"/>
                <a:gd name="connsiteX73" fmla="*/ 239501 w 344587"/>
                <a:gd name="connsiteY73" fmla="*/ 258251 h 344988"/>
                <a:gd name="connsiteX74" fmla="*/ 239015 w 344587"/>
                <a:gd name="connsiteY74" fmla="*/ 263048 h 344988"/>
                <a:gd name="connsiteX75" fmla="*/ 243119 w 344587"/>
                <a:gd name="connsiteY75" fmla="*/ 260515 h 344988"/>
                <a:gd name="connsiteX76" fmla="*/ 247546 w 344587"/>
                <a:gd name="connsiteY76" fmla="*/ 262455 h 344988"/>
                <a:gd name="connsiteX77" fmla="*/ 246413 w 344587"/>
                <a:gd name="connsiteY77" fmla="*/ 257766 h 344988"/>
                <a:gd name="connsiteX78" fmla="*/ 249625 w 344587"/>
                <a:gd name="connsiteY78" fmla="*/ 254154 h 344988"/>
                <a:gd name="connsiteX79" fmla="*/ 244792 w 344587"/>
                <a:gd name="connsiteY79" fmla="*/ 253776 h 344988"/>
                <a:gd name="connsiteX80" fmla="*/ 102024 w 344587"/>
                <a:gd name="connsiteY80" fmla="*/ 249625 h 344988"/>
                <a:gd name="connsiteX81" fmla="*/ 99594 w 344587"/>
                <a:gd name="connsiteY81" fmla="*/ 253776 h 344988"/>
                <a:gd name="connsiteX82" fmla="*/ 94762 w 344587"/>
                <a:gd name="connsiteY82" fmla="*/ 254154 h 344988"/>
                <a:gd name="connsiteX83" fmla="*/ 97975 w 344587"/>
                <a:gd name="connsiteY83" fmla="*/ 257766 h 344988"/>
                <a:gd name="connsiteX84" fmla="*/ 96841 w 344587"/>
                <a:gd name="connsiteY84" fmla="*/ 262455 h 344988"/>
                <a:gd name="connsiteX85" fmla="*/ 101268 w 344587"/>
                <a:gd name="connsiteY85" fmla="*/ 260515 h 344988"/>
                <a:gd name="connsiteX86" fmla="*/ 105372 w 344587"/>
                <a:gd name="connsiteY86" fmla="*/ 263048 h 344988"/>
                <a:gd name="connsiteX87" fmla="*/ 104886 w 344587"/>
                <a:gd name="connsiteY87" fmla="*/ 258251 h 344988"/>
                <a:gd name="connsiteX88" fmla="*/ 108585 w 344587"/>
                <a:gd name="connsiteY88" fmla="*/ 255124 h 344988"/>
                <a:gd name="connsiteX89" fmla="*/ 103860 w 344587"/>
                <a:gd name="connsiteY89" fmla="*/ 254100 h 344988"/>
                <a:gd name="connsiteX90" fmla="*/ 254712 w 344587"/>
                <a:gd name="connsiteY90" fmla="*/ 236203 h 344988"/>
                <a:gd name="connsiteX91" fmla="*/ 253690 w 344587"/>
                <a:gd name="connsiteY91" fmla="*/ 240928 h 344988"/>
                <a:gd name="connsiteX92" fmla="*/ 249225 w 344587"/>
                <a:gd name="connsiteY92" fmla="*/ 242764 h 344988"/>
                <a:gd name="connsiteX93" fmla="*/ 253394 w 344587"/>
                <a:gd name="connsiteY93" fmla="*/ 245220 h 344988"/>
                <a:gd name="connsiteX94" fmla="*/ 253771 w 344587"/>
                <a:gd name="connsiteY94" fmla="*/ 250026 h 344988"/>
                <a:gd name="connsiteX95" fmla="*/ 257348 w 344587"/>
                <a:gd name="connsiteY95" fmla="*/ 246813 h 344988"/>
                <a:gd name="connsiteX96" fmla="*/ 262056 w 344587"/>
                <a:gd name="connsiteY96" fmla="*/ 247974 h 344988"/>
                <a:gd name="connsiteX97" fmla="*/ 260119 w 344587"/>
                <a:gd name="connsiteY97" fmla="*/ 243520 h 344988"/>
                <a:gd name="connsiteX98" fmla="*/ 262648 w 344587"/>
                <a:gd name="connsiteY98" fmla="*/ 239416 h 344988"/>
                <a:gd name="connsiteX99" fmla="*/ 257833 w 344587"/>
                <a:gd name="connsiteY99" fmla="*/ 239902 h 344988"/>
                <a:gd name="connsiteX100" fmla="*/ 89793 w 344587"/>
                <a:gd name="connsiteY100" fmla="*/ 236203 h 344988"/>
                <a:gd name="connsiteX101" fmla="*/ 86626 w 344587"/>
                <a:gd name="connsiteY101" fmla="*/ 239902 h 344988"/>
                <a:gd name="connsiteX102" fmla="*/ 81739 w 344587"/>
                <a:gd name="connsiteY102" fmla="*/ 239416 h 344988"/>
                <a:gd name="connsiteX103" fmla="*/ 84333 w 344587"/>
                <a:gd name="connsiteY103" fmla="*/ 243520 h 344988"/>
                <a:gd name="connsiteX104" fmla="*/ 82340 w 344587"/>
                <a:gd name="connsiteY104" fmla="*/ 247974 h 344988"/>
                <a:gd name="connsiteX105" fmla="*/ 87118 w 344587"/>
                <a:gd name="connsiteY105" fmla="*/ 246813 h 344988"/>
                <a:gd name="connsiteX106" fmla="*/ 90749 w 344587"/>
                <a:gd name="connsiteY106" fmla="*/ 250026 h 344988"/>
                <a:gd name="connsiteX107" fmla="*/ 91131 w 344587"/>
                <a:gd name="connsiteY107" fmla="*/ 245220 h 344988"/>
                <a:gd name="connsiteX108" fmla="*/ 95363 w 344587"/>
                <a:gd name="connsiteY108" fmla="*/ 242764 h 344988"/>
                <a:gd name="connsiteX109" fmla="*/ 90831 w 344587"/>
                <a:gd name="connsiteY109" fmla="*/ 240928 h 344988"/>
                <a:gd name="connsiteX110" fmla="*/ 264558 w 344587"/>
                <a:gd name="connsiteY110" fmla="*/ 220977 h 344988"/>
                <a:gd name="connsiteX111" fmla="*/ 264341 w 344587"/>
                <a:gd name="connsiteY111" fmla="*/ 225819 h 344988"/>
                <a:gd name="connsiteX112" fmla="*/ 260243 w 344587"/>
                <a:gd name="connsiteY112" fmla="*/ 228416 h 344988"/>
                <a:gd name="connsiteX113" fmla="*/ 264803 w 344587"/>
                <a:gd name="connsiteY113" fmla="*/ 230093 h 344988"/>
                <a:gd name="connsiteX114" fmla="*/ 265997 w 344587"/>
                <a:gd name="connsiteY114" fmla="*/ 234800 h 344988"/>
                <a:gd name="connsiteX115" fmla="*/ 269009 w 344587"/>
                <a:gd name="connsiteY115" fmla="*/ 230986 h 344988"/>
                <a:gd name="connsiteX116" fmla="*/ 273867 w 344587"/>
                <a:gd name="connsiteY116" fmla="*/ 231311 h 344988"/>
                <a:gd name="connsiteX117" fmla="*/ 271180 w 344587"/>
                <a:gd name="connsiteY117" fmla="*/ 227280 h 344988"/>
                <a:gd name="connsiteX118" fmla="*/ 272971 w 344587"/>
                <a:gd name="connsiteY118" fmla="*/ 222762 h 344988"/>
                <a:gd name="connsiteX119" fmla="*/ 268276 w 344587"/>
                <a:gd name="connsiteY119" fmla="*/ 224088 h 344988"/>
                <a:gd name="connsiteX120" fmla="*/ 80029 w 344587"/>
                <a:gd name="connsiteY120" fmla="*/ 220977 h 344988"/>
                <a:gd name="connsiteX121" fmla="*/ 76311 w 344587"/>
                <a:gd name="connsiteY121" fmla="*/ 224088 h 344988"/>
                <a:gd name="connsiteX122" fmla="*/ 71616 w 344587"/>
                <a:gd name="connsiteY122" fmla="*/ 222762 h 344988"/>
                <a:gd name="connsiteX123" fmla="*/ 73407 w 344587"/>
                <a:gd name="connsiteY123" fmla="*/ 227280 h 344988"/>
                <a:gd name="connsiteX124" fmla="*/ 70721 w 344587"/>
                <a:gd name="connsiteY124" fmla="*/ 231311 h 344988"/>
                <a:gd name="connsiteX125" fmla="*/ 75578 w 344587"/>
                <a:gd name="connsiteY125" fmla="*/ 230986 h 344988"/>
                <a:gd name="connsiteX126" fmla="*/ 78590 w 344587"/>
                <a:gd name="connsiteY126" fmla="*/ 234800 h 344988"/>
                <a:gd name="connsiteX127" fmla="*/ 79785 w 344587"/>
                <a:gd name="connsiteY127" fmla="*/ 230093 h 344988"/>
                <a:gd name="connsiteX128" fmla="*/ 84344 w 344587"/>
                <a:gd name="connsiteY128" fmla="*/ 228416 h 344988"/>
                <a:gd name="connsiteX129" fmla="*/ 80246 w 344587"/>
                <a:gd name="connsiteY129" fmla="*/ 225819 h 344988"/>
                <a:gd name="connsiteX130" fmla="*/ 271410 w 344587"/>
                <a:gd name="connsiteY130" fmla="*/ 204148 h 344988"/>
                <a:gd name="connsiteX131" fmla="*/ 272066 w 344587"/>
                <a:gd name="connsiteY131" fmla="*/ 208985 h 344988"/>
                <a:gd name="connsiteX132" fmla="*/ 268457 w 344587"/>
                <a:gd name="connsiteY132" fmla="*/ 212245 h 344988"/>
                <a:gd name="connsiteX133" fmla="*/ 273269 w 344587"/>
                <a:gd name="connsiteY133" fmla="*/ 213115 h 344988"/>
                <a:gd name="connsiteX134" fmla="*/ 275292 w 344587"/>
                <a:gd name="connsiteY134" fmla="*/ 217571 h 344988"/>
                <a:gd name="connsiteX135" fmla="*/ 277615 w 344587"/>
                <a:gd name="connsiteY135" fmla="*/ 213278 h 344988"/>
                <a:gd name="connsiteX136" fmla="*/ 282481 w 344587"/>
                <a:gd name="connsiteY136" fmla="*/ 212734 h 344988"/>
                <a:gd name="connsiteX137" fmla="*/ 279091 w 344587"/>
                <a:gd name="connsiteY137" fmla="*/ 209229 h 344988"/>
                <a:gd name="connsiteX138" fmla="*/ 280076 w 344587"/>
                <a:gd name="connsiteY138" fmla="*/ 204447 h 344988"/>
                <a:gd name="connsiteX139" fmla="*/ 275674 w 344587"/>
                <a:gd name="connsiteY139" fmla="*/ 206566 h 344988"/>
                <a:gd name="connsiteX140" fmla="*/ 73019 w 344587"/>
                <a:gd name="connsiteY140" fmla="*/ 204148 h 344988"/>
                <a:gd name="connsiteX141" fmla="*/ 68816 w 344587"/>
                <a:gd name="connsiteY141" fmla="*/ 206566 h 344988"/>
                <a:gd name="connsiteX142" fmla="*/ 64477 w 344587"/>
                <a:gd name="connsiteY142" fmla="*/ 204447 h 344988"/>
                <a:gd name="connsiteX143" fmla="*/ 65447 w 344587"/>
                <a:gd name="connsiteY143" fmla="*/ 209229 h 344988"/>
                <a:gd name="connsiteX144" fmla="*/ 62106 w 344587"/>
                <a:gd name="connsiteY144" fmla="*/ 212734 h 344988"/>
                <a:gd name="connsiteX145" fmla="*/ 66903 w 344587"/>
                <a:gd name="connsiteY145" fmla="*/ 213278 h 344988"/>
                <a:gd name="connsiteX146" fmla="*/ 69193 w 344587"/>
                <a:gd name="connsiteY146" fmla="*/ 217571 h 344988"/>
                <a:gd name="connsiteX147" fmla="*/ 71187 w 344587"/>
                <a:gd name="connsiteY147" fmla="*/ 213115 h 344988"/>
                <a:gd name="connsiteX148" fmla="*/ 75929 w 344587"/>
                <a:gd name="connsiteY148" fmla="*/ 212245 h 344988"/>
                <a:gd name="connsiteX149" fmla="*/ 72373 w 344587"/>
                <a:gd name="connsiteY149" fmla="*/ 208985 h 344988"/>
                <a:gd name="connsiteX150" fmla="*/ 283915 w 344587"/>
                <a:gd name="connsiteY150" fmla="*/ 185116 h 344988"/>
                <a:gd name="connsiteX151" fmla="*/ 279950 w 344587"/>
                <a:gd name="connsiteY151" fmla="*/ 187963 h 344988"/>
                <a:gd name="connsiteX152" fmla="*/ 275388 w 344587"/>
                <a:gd name="connsiteY152" fmla="*/ 186320 h 344988"/>
                <a:gd name="connsiteX153" fmla="*/ 276854 w 344587"/>
                <a:gd name="connsiteY153" fmla="*/ 191001 h 344988"/>
                <a:gd name="connsiteX154" fmla="*/ 273867 w 344587"/>
                <a:gd name="connsiteY154" fmla="*/ 194861 h 344988"/>
                <a:gd name="connsiteX155" fmla="*/ 278755 w 344587"/>
                <a:gd name="connsiteY155" fmla="*/ 194888 h 344988"/>
                <a:gd name="connsiteX156" fmla="*/ 281498 w 344587"/>
                <a:gd name="connsiteY156" fmla="*/ 198939 h 344988"/>
                <a:gd name="connsiteX157" fmla="*/ 283019 w 344587"/>
                <a:gd name="connsiteY157" fmla="*/ 194286 h 344988"/>
                <a:gd name="connsiteX158" fmla="*/ 287690 w 344587"/>
                <a:gd name="connsiteY158" fmla="*/ 192917 h 344988"/>
                <a:gd name="connsiteX159" fmla="*/ 283780 w 344587"/>
                <a:gd name="connsiteY159" fmla="*/ 190015 h 344988"/>
                <a:gd name="connsiteX160" fmla="*/ 60472 w 344587"/>
                <a:gd name="connsiteY160" fmla="*/ 185116 h 344988"/>
                <a:gd name="connsiteX161" fmla="*/ 60608 w 344587"/>
                <a:gd name="connsiteY161" fmla="*/ 190015 h 344988"/>
                <a:gd name="connsiteX162" fmla="*/ 56697 w 344587"/>
                <a:gd name="connsiteY162" fmla="*/ 192917 h 344988"/>
                <a:gd name="connsiteX163" fmla="*/ 61368 w 344587"/>
                <a:gd name="connsiteY163" fmla="*/ 194286 h 344988"/>
                <a:gd name="connsiteX164" fmla="*/ 62889 w 344587"/>
                <a:gd name="connsiteY164" fmla="*/ 198939 h 344988"/>
                <a:gd name="connsiteX165" fmla="*/ 65632 w 344587"/>
                <a:gd name="connsiteY165" fmla="*/ 194888 h 344988"/>
                <a:gd name="connsiteX166" fmla="*/ 70520 w 344587"/>
                <a:gd name="connsiteY166" fmla="*/ 194861 h 344988"/>
                <a:gd name="connsiteX167" fmla="*/ 67533 w 344587"/>
                <a:gd name="connsiteY167" fmla="*/ 191001 h 344988"/>
                <a:gd name="connsiteX168" fmla="*/ 68999 w 344587"/>
                <a:gd name="connsiteY168" fmla="*/ 186320 h 344988"/>
                <a:gd name="connsiteX169" fmla="*/ 64437 w 344587"/>
                <a:gd name="connsiteY169" fmla="*/ 187963 h 344988"/>
                <a:gd name="connsiteX170" fmla="*/ 284437 w 344587"/>
                <a:gd name="connsiteY170" fmla="*/ 165482 h 344988"/>
                <a:gd name="connsiteX171" fmla="*/ 281057 w 344587"/>
                <a:gd name="connsiteY171" fmla="*/ 168981 h 344988"/>
                <a:gd name="connsiteX172" fmla="*/ 276271 w 344587"/>
                <a:gd name="connsiteY172" fmla="*/ 168161 h 344988"/>
                <a:gd name="connsiteX173" fmla="*/ 278542 w 344587"/>
                <a:gd name="connsiteY173" fmla="*/ 172508 h 344988"/>
                <a:gd name="connsiteX174" fmla="*/ 276271 w 344587"/>
                <a:gd name="connsiteY174" fmla="*/ 176827 h 344988"/>
                <a:gd name="connsiteX175" fmla="*/ 281057 w 344587"/>
                <a:gd name="connsiteY175" fmla="*/ 176007 h 344988"/>
                <a:gd name="connsiteX176" fmla="*/ 284437 w 344587"/>
                <a:gd name="connsiteY176" fmla="*/ 179506 h 344988"/>
                <a:gd name="connsiteX177" fmla="*/ 285140 w 344587"/>
                <a:gd name="connsiteY177" fmla="*/ 174667 h 344988"/>
                <a:gd name="connsiteX178" fmla="*/ 289493 w 344587"/>
                <a:gd name="connsiteY178" fmla="*/ 172508 h 344988"/>
                <a:gd name="connsiteX179" fmla="*/ 285140 w 344587"/>
                <a:gd name="connsiteY179" fmla="*/ 170321 h 344988"/>
                <a:gd name="connsiteX180" fmla="*/ 60027 w 344587"/>
                <a:gd name="connsiteY180" fmla="*/ 165482 h 344988"/>
                <a:gd name="connsiteX181" fmla="*/ 59313 w 344587"/>
                <a:gd name="connsiteY181" fmla="*/ 170321 h 344988"/>
                <a:gd name="connsiteX182" fmla="*/ 54894 w 344587"/>
                <a:gd name="connsiteY182" fmla="*/ 172508 h 344988"/>
                <a:gd name="connsiteX183" fmla="*/ 59313 w 344587"/>
                <a:gd name="connsiteY183" fmla="*/ 174667 h 344988"/>
                <a:gd name="connsiteX184" fmla="*/ 60027 w 344587"/>
                <a:gd name="connsiteY184" fmla="*/ 179506 h 344988"/>
                <a:gd name="connsiteX185" fmla="*/ 63458 w 344587"/>
                <a:gd name="connsiteY185" fmla="*/ 176007 h 344988"/>
                <a:gd name="connsiteX186" fmla="*/ 68317 w 344587"/>
                <a:gd name="connsiteY186" fmla="*/ 176827 h 344988"/>
                <a:gd name="connsiteX187" fmla="*/ 66011 w 344587"/>
                <a:gd name="connsiteY187" fmla="*/ 172508 h 344988"/>
                <a:gd name="connsiteX188" fmla="*/ 68317 w 344587"/>
                <a:gd name="connsiteY188" fmla="*/ 168161 h 344988"/>
                <a:gd name="connsiteX189" fmla="*/ 63458 w 344587"/>
                <a:gd name="connsiteY189" fmla="*/ 168981 h 344988"/>
                <a:gd name="connsiteX190" fmla="*/ 281498 w 344587"/>
                <a:gd name="connsiteY190" fmla="*/ 146049 h 344988"/>
                <a:gd name="connsiteX191" fmla="*/ 278755 w 344587"/>
                <a:gd name="connsiteY191" fmla="*/ 150092 h 344988"/>
                <a:gd name="connsiteX192" fmla="*/ 273867 w 344587"/>
                <a:gd name="connsiteY192" fmla="*/ 150120 h 344988"/>
                <a:gd name="connsiteX193" fmla="*/ 276854 w 344587"/>
                <a:gd name="connsiteY193" fmla="*/ 153999 h 344988"/>
                <a:gd name="connsiteX194" fmla="*/ 275388 w 344587"/>
                <a:gd name="connsiteY194" fmla="*/ 158670 h 344988"/>
                <a:gd name="connsiteX195" fmla="*/ 279950 w 344587"/>
                <a:gd name="connsiteY195" fmla="*/ 157004 h 344988"/>
                <a:gd name="connsiteX196" fmla="*/ 283915 w 344587"/>
                <a:gd name="connsiteY196" fmla="*/ 159872 h 344988"/>
                <a:gd name="connsiteX197" fmla="*/ 283780 w 344587"/>
                <a:gd name="connsiteY197" fmla="*/ 154955 h 344988"/>
                <a:gd name="connsiteX198" fmla="*/ 287690 w 344587"/>
                <a:gd name="connsiteY198" fmla="*/ 152059 h 344988"/>
                <a:gd name="connsiteX199" fmla="*/ 283019 w 344587"/>
                <a:gd name="connsiteY199" fmla="*/ 150693 h 344988"/>
                <a:gd name="connsiteX200" fmla="*/ 62889 w 344587"/>
                <a:gd name="connsiteY200" fmla="*/ 146049 h 344988"/>
                <a:gd name="connsiteX201" fmla="*/ 61368 w 344587"/>
                <a:gd name="connsiteY201" fmla="*/ 150693 h 344988"/>
                <a:gd name="connsiteX202" fmla="*/ 56697 w 344587"/>
                <a:gd name="connsiteY202" fmla="*/ 152059 h 344988"/>
                <a:gd name="connsiteX203" fmla="*/ 60608 w 344587"/>
                <a:gd name="connsiteY203" fmla="*/ 154955 h 344988"/>
                <a:gd name="connsiteX204" fmla="*/ 60472 w 344587"/>
                <a:gd name="connsiteY204" fmla="*/ 159872 h 344988"/>
                <a:gd name="connsiteX205" fmla="*/ 64437 w 344587"/>
                <a:gd name="connsiteY205" fmla="*/ 157004 h 344988"/>
                <a:gd name="connsiteX206" fmla="*/ 68999 w 344587"/>
                <a:gd name="connsiteY206" fmla="*/ 158670 h 344988"/>
                <a:gd name="connsiteX207" fmla="*/ 67533 w 344587"/>
                <a:gd name="connsiteY207" fmla="*/ 153999 h 344988"/>
                <a:gd name="connsiteX208" fmla="*/ 70520 w 344587"/>
                <a:gd name="connsiteY208" fmla="*/ 150120 h 344988"/>
                <a:gd name="connsiteX209" fmla="*/ 65632 w 344587"/>
                <a:gd name="connsiteY209" fmla="*/ 150092 h 344988"/>
                <a:gd name="connsiteX210" fmla="*/ 275292 w 344587"/>
                <a:gd name="connsiteY210" fmla="*/ 127618 h 344988"/>
                <a:gd name="connsiteX211" fmla="*/ 273269 w 344587"/>
                <a:gd name="connsiteY211" fmla="*/ 132007 h 344988"/>
                <a:gd name="connsiteX212" fmla="*/ 268457 w 344587"/>
                <a:gd name="connsiteY212" fmla="*/ 132864 h 344988"/>
                <a:gd name="connsiteX213" fmla="*/ 272066 w 344587"/>
                <a:gd name="connsiteY213" fmla="*/ 136103 h 344988"/>
                <a:gd name="connsiteX214" fmla="*/ 271410 w 344587"/>
                <a:gd name="connsiteY214" fmla="*/ 140840 h 344988"/>
                <a:gd name="connsiteX215" fmla="*/ 275674 w 344587"/>
                <a:gd name="connsiteY215" fmla="*/ 138458 h 344988"/>
                <a:gd name="connsiteX216" fmla="*/ 280076 w 344587"/>
                <a:gd name="connsiteY216" fmla="*/ 140546 h 344988"/>
                <a:gd name="connsiteX217" fmla="*/ 279091 w 344587"/>
                <a:gd name="connsiteY217" fmla="*/ 135862 h 344988"/>
                <a:gd name="connsiteX218" fmla="*/ 282481 w 344587"/>
                <a:gd name="connsiteY218" fmla="*/ 132382 h 344988"/>
                <a:gd name="connsiteX219" fmla="*/ 277615 w 344587"/>
                <a:gd name="connsiteY219" fmla="*/ 131847 h 344988"/>
                <a:gd name="connsiteX220" fmla="*/ 69193 w 344587"/>
                <a:gd name="connsiteY220" fmla="*/ 127618 h 344988"/>
                <a:gd name="connsiteX221" fmla="*/ 66903 w 344587"/>
                <a:gd name="connsiteY221" fmla="*/ 131847 h 344988"/>
                <a:gd name="connsiteX222" fmla="*/ 62106 w 344587"/>
                <a:gd name="connsiteY222" fmla="*/ 132382 h 344988"/>
                <a:gd name="connsiteX223" fmla="*/ 65447 w 344587"/>
                <a:gd name="connsiteY223" fmla="*/ 135862 h 344988"/>
                <a:gd name="connsiteX224" fmla="*/ 64477 w 344587"/>
                <a:gd name="connsiteY224" fmla="*/ 140546 h 344988"/>
                <a:gd name="connsiteX225" fmla="*/ 68816 w 344587"/>
                <a:gd name="connsiteY225" fmla="*/ 138458 h 344988"/>
                <a:gd name="connsiteX226" fmla="*/ 73019 w 344587"/>
                <a:gd name="connsiteY226" fmla="*/ 140840 h 344988"/>
                <a:gd name="connsiteX227" fmla="*/ 72373 w 344587"/>
                <a:gd name="connsiteY227" fmla="*/ 136103 h 344988"/>
                <a:gd name="connsiteX228" fmla="*/ 75929 w 344587"/>
                <a:gd name="connsiteY228" fmla="*/ 132864 h 344988"/>
                <a:gd name="connsiteX229" fmla="*/ 71187 w 344587"/>
                <a:gd name="connsiteY229" fmla="*/ 132007 h 344988"/>
                <a:gd name="connsiteX230" fmla="*/ 265997 w 344587"/>
                <a:gd name="connsiteY230" fmla="*/ 110188 h 344988"/>
                <a:gd name="connsiteX231" fmla="*/ 264803 w 344587"/>
                <a:gd name="connsiteY231" fmla="*/ 114963 h 344988"/>
                <a:gd name="connsiteX232" fmla="*/ 260243 w 344587"/>
                <a:gd name="connsiteY232" fmla="*/ 116665 h 344988"/>
                <a:gd name="connsiteX233" fmla="*/ 264341 w 344587"/>
                <a:gd name="connsiteY233" fmla="*/ 119299 h 344988"/>
                <a:gd name="connsiteX234" fmla="*/ 264558 w 344587"/>
                <a:gd name="connsiteY234" fmla="*/ 124212 h 344988"/>
                <a:gd name="connsiteX235" fmla="*/ 268276 w 344587"/>
                <a:gd name="connsiteY235" fmla="*/ 121083 h 344988"/>
                <a:gd name="connsiteX236" fmla="*/ 272971 w 344587"/>
                <a:gd name="connsiteY236" fmla="*/ 122401 h 344988"/>
                <a:gd name="connsiteX237" fmla="*/ 271180 w 344587"/>
                <a:gd name="connsiteY237" fmla="*/ 117845 h 344988"/>
                <a:gd name="connsiteX238" fmla="*/ 273867 w 344587"/>
                <a:gd name="connsiteY238" fmla="*/ 113756 h 344988"/>
                <a:gd name="connsiteX239" fmla="*/ 269009 w 344587"/>
                <a:gd name="connsiteY239" fmla="*/ 114057 h 344988"/>
                <a:gd name="connsiteX240" fmla="*/ 78590 w 344587"/>
                <a:gd name="connsiteY240" fmla="*/ 110188 h 344988"/>
                <a:gd name="connsiteX241" fmla="*/ 75578 w 344587"/>
                <a:gd name="connsiteY241" fmla="*/ 114057 h 344988"/>
                <a:gd name="connsiteX242" fmla="*/ 70721 w 344587"/>
                <a:gd name="connsiteY242" fmla="*/ 113756 h 344988"/>
                <a:gd name="connsiteX243" fmla="*/ 73407 w 344587"/>
                <a:gd name="connsiteY243" fmla="*/ 117845 h 344988"/>
                <a:gd name="connsiteX244" fmla="*/ 71616 w 344587"/>
                <a:gd name="connsiteY244" fmla="*/ 122401 h 344988"/>
                <a:gd name="connsiteX245" fmla="*/ 76311 w 344587"/>
                <a:gd name="connsiteY245" fmla="*/ 121083 h 344988"/>
                <a:gd name="connsiteX246" fmla="*/ 80029 w 344587"/>
                <a:gd name="connsiteY246" fmla="*/ 124212 h 344988"/>
                <a:gd name="connsiteX247" fmla="*/ 80246 w 344587"/>
                <a:gd name="connsiteY247" fmla="*/ 119299 h 344988"/>
                <a:gd name="connsiteX248" fmla="*/ 84344 w 344587"/>
                <a:gd name="connsiteY248" fmla="*/ 116665 h 344988"/>
                <a:gd name="connsiteX249" fmla="*/ 79785 w 344587"/>
                <a:gd name="connsiteY249" fmla="*/ 114963 h 344988"/>
                <a:gd name="connsiteX250" fmla="*/ 172293 w 344587"/>
                <a:gd name="connsiteY250" fmla="*/ 107507 h 344988"/>
                <a:gd name="connsiteX251" fmla="*/ 164742 w 344587"/>
                <a:gd name="connsiteY251" fmla="*/ 112163 h 344988"/>
                <a:gd name="connsiteX252" fmla="*/ 148477 w 344587"/>
                <a:gd name="connsiteY252" fmla="*/ 145335 h 344988"/>
                <a:gd name="connsiteX253" fmla="*/ 111881 w 344587"/>
                <a:gd name="connsiteY253" fmla="*/ 150766 h 344988"/>
                <a:gd name="connsiteX254" fmla="*/ 104910 w 344587"/>
                <a:gd name="connsiteY254" fmla="*/ 156392 h 344988"/>
                <a:gd name="connsiteX255" fmla="*/ 107234 w 344587"/>
                <a:gd name="connsiteY255" fmla="*/ 165121 h 344988"/>
                <a:gd name="connsiteX256" fmla="*/ 133567 w 344587"/>
                <a:gd name="connsiteY256" fmla="*/ 190922 h 344988"/>
                <a:gd name="connsiteX257" fmla="*/ 127371 w 344587"/>
                <a:gd name="connsiteY257" fmla="*/ 227392 h 344988"/>
                <a:gd name="connsiteX258" fmla="*/ 130663 w 344587"/>
                <a:gd name="connsiteY258" fmla="*/ 235733 h 344988"/>
                <a:gd name="connsiteX259" fmla="*/ 135697 w 344587"/>
                <a:gd name="connsiteY259" fmla="*/ 237479 h 344988"/>
                <a:gd name="connsiteX260" fmla="*/ 139570 w 344587"/>
                <a:gd name="connsiteY260" fmla="*/ 236509 h 344988"/>
                <a:gd name="connsiteX261" fmla="*/ 172293 w 344587"/>
                <a:gd name="connsiteY261" fmla="*/ 219244 h 344988"/>
                <a:gd name="connsiteX262" fmla="*/ 205016 w 344587"/>
                <a:gd name="connsiteY262" fmla="*/ 236509 h 344988"/>
                <a:gd name="connsiteX263" fmla="*/ 209083 w 344587"/>
                <a:gd name="connsiteY263" fmla="*/ 237479 h 344988"/>
                <a:gd name="connsiteX264" fmla="*/ 213923 w 344587"/>
                <a:gd name="connsiteY264" fmla="*/ 235733 h 344988"/>
                <a:gd name="connsiteX265" fmla="*/ 217409 w 344587"/>
                <a:gd name="connsiteY265" fmla="*/ 227392 h 344988"/>
                <a:gd name="connsiteX266" fmla="*/ 211213 w 344587"/>
                <a:gd name="connsiteY266" fmla="*/ 190922 h 344988"/>
                <a:gd name="connsiteX267" fmla="*/ 237546 w 344587"/>
                <a:gd name="connsiteY267" fmla="*/ 165121 h 344988"/>
                <a:gd name="connsiteX268" fmla="*/ 239676 w 344587"/>
                <a:gd name="connsiteY268" fmla="*/ 156392 h 344988"/>
                <a:gd name="connsiteX269" fmla="*/ 232899 w 344587"/>
                <a:gd name="connsiteY269" fmla="*/ 150766 h 344988"/>
                <a:gd name="connsiteX270" fmla="*/ 196303 w 344587"/>
                <a:gd name="connsiteY270" fmla="*/ 145335 h 344988"/>
                <a:gd name="connsiteX271" fmla="*/ 180038 w 344587"/>
                <a:gd name="connsiteY271" fmla="*/ 112163 h 344988"/>
                <a:gd name="connsiteX272" fmla="*/ 172293 w 344587"/>
                <a:gd name="connsiteY272" fmla="*/ 107507 h 344988"/>
                <a:gd name="connsiteX273" fmla="*/ 253771 w 344587"/>
                <a:gd name="connsiteY273" fmla="*/ 94962 h 344988"/>
                <a:gd name="connsiteX274" fmla="*/ 253394 w 344587"/>
                <a:gd name="connsiteY274" fmla="*/ 99795 h 344988"/>
                <a:gd name="connsiteX275" fmla="*/ 249225 w 344587"/>
                <a:gd name="connsiteY275" fmla="*/ 102225 h 344988"/>
                <a:gd name="connsiteX276" fmla="*/ 253690 w 344587"/>
                <a:gd name="connsiteY276" fmla="*/ 104061 h 344988"/>
                <a:gd name="connsiteX277" fmla="*/ 254712 w 344587"/>
                <a:gd name="connsiteY277" fmla="*/ 108785 h 344988"/>
                <a:gd name="connsiteX278" fmla="*/ 257833 w 344587"/>
                <a:gd name="connsiteY278" fmla="*/ 105114 h 344988"/>
                <a:gd name="connsiteX279" fmla="*/ 262648 w 344587"/>
                <a:gd name="connsiteY279" fmla="*/ 105573 h 344988"/>
                <a:gd name="connsiteX280" fmla="*/ 260119 w 344587"/>
                <a:gd name="connsiteY280" fmla="*/ 101469 h 344988"/>
                <a:gd name="connsiteX281" fmla="*/ 262056 w 344587"/>
                <a:gd name="connsiteY281" fmla="*/ 97041 h 344988"/>
                <a:gd name="connsiteX282" fmla="*/ 257348 w 344587"/>
                <a:gd name="connsiteY282" fmla="*/ 98175 h 344988"/>
                <a:gd name="connsiteX283" fmla="*/ 90749 w 344587"/>
                <a:gd name="connsiteY283" fmla="*/ 94962 h 344988"/>
                <a:gd name="connsiteX284" fmla="*/ 87118 w 344587"/>
                <a:gd name="connsiteY284" fmla="*/ 98175 h 344988"/>
                <a:gd name="connsiteX285" fmla="*/ 82340 w 344587"/>
                <a:gd name="connsiteY285" fmla="*/ 97041 h 344988"/>
                <a:gd name="connsiteX286" fmla="*/ 84333 w 344587"/>
                <a:gd name="connsiteY286" fmla="*/ 101469 h 344988"/>
                <a:gd name="connsiteX287" fmla="*/ 81739 w 344587"/>
                <a:gd name="connsiteY287" fmla="*/ 105573 h 344988"/>
                <a:gd name="connsiteX288" fmla="*/ 86626 w 344587"/>
                <a:gd name="connsiteY288" fmla="*/ 105114 h 344988"/>
                <a:gd name="connsiteX289" fmla="*/ 89793 w 344587"/>
                <a:gd name="connsiteY289" fmla="*/ 108785 h 344988"/>
                <a:gd name="connsiteX290" fmla="*/ 90831 w 344587"/>
                <a:gd name="connsiteY290" fmla="*/ 104061 h 344988"/>
                <a:gd name="connsiteX291" fmla="*/ 95363 w 344587"/>
                <a:gd name="connsiteY291" fmla="*/ 102225 h 344988"/>
                <a:gd name="connsiteX292" fmla="*/ 91131 w 344587"/>
                <a:gd name="connsiteY292" fmla="*/ 99795 h 344988"/>
                <a:gd name="connsiteX293" fmla="*/ 239015 w 344587"/>
                <a:gd name="connsiteY293" fmla="*/ 81940 h 344988"/>
                <a:gd name="connsiteX294" fmla="*/ 239501 w 344587"/>
                <a:gd name="connsiteY294" fmla="*/ 86827 h 344988"/>
                <a:gd name="connsiteX295" fmla="*/ 235802 w 344587"/>
                <a:gd name="connsiteY295" fmla="*/ 89993 h 344988"/>
                <a:gd name="connsiteX296" fmla="*/ 240527 w 344587"/>
                <a:gd name="connsiteY296" fmla="*/ 91031 h 344988"/>
                <a:gd name="connsiteX297" fmla="*/ 242363 w 344587"/>
                <a:gd name="connsiteY297" fmla="*/ 95563 h 344988"/>
                <a:gd name="connsiteX298" fmla="*/ 244792 w 344587"/>
                <a:gd name="connsiteY298" fmla="*/ 91331 h 344988"/>
                <a:gd name="connsiteX299" fmla="*/ 249625 w 344587"/>
                <a:gd name="connsiteY299" fmla="*/ 90976 h 344988"/>
                <a:gd name="connsiteX300" fmla="*/ 246413 w 344587"/>
                <a:gd name="connsiteY300" fmla="*/ 87318 h 344988"/>
                <a:gd name="connsiteX301" fmla="*/ 247546 w 344587"/>
                <a:gd name="connsiteY301" fmla="*/ 82568 h 344988"/>
                <a:gd name="connsiteX302" fmla="*/ 243119 w 344587"/>
                <a:gd name="connsiteY302" fmla="*/ 84533 h 344988"/>
                <a:gd name="connsiteX303" fmla="*/ 105372 w 344587"/>
                <a:gd name="connsiteY303" fmla="*/ 81940 h 344988"/>
                <a:gd name="connsiteX304" fmla="*/ 101268 w 344587"/>
                <a:gd name="connsiteY304" fmla="*/ 84533 h 344988"/>
                <a:gd name="connsiteX305" fmla="*/ 96841 w 344587"/>
                <a:gd name="connsiteY305" fmla="*/ 82568 h 344988"/>
                <a:gd name="connsiteX306" fmla="*/ 97975 w 344587"/>
                <a:gd name="connsiteY306" fmla="*/ 87318 h 344988"/>
                <a:gd name="connsiteX307" fmla="*/ 94762 w 344587"/>
                <a:gd name="connsiteY307" fmla="*/ 90976 h 344988"/>
                <a:gd name="connsiteX308" fmla="*/ 99594 w 344587"/>
                <a:gd name="connsiteY308" fmla="*/ 91331 h 344988"/>
                <a:gd name="connsiteX309" fmla="*/ 102024 w 344587"/>
                <a:gd name="connsiteY309" fmla="*/ 95563 h 344988"/>
                <a:gd name="connsiteX310" fmla="*/ 103860 w 344587"/>
                <a:gd name="connsiteY310" fmla="*/ 91031 h 344988"/>
                <a:gd name="connsiteX311" fmla="*/ 108585 w 344587"/>
                <a:gd name="connsiteY311" fmla="*/ 89993 h 344988"/>
                <a:gd name="connsiteX312" fmla="*/ 104886 w 344587"/>
                <a:gd name="connsiteY312" fmla="*/ 86827 h 344988"/>
                <a:gd name="connsiteX313" fmla="*/ 230910 w 344587"/>
                <a:gd name="connsiteY313" fmla="*/ 70720 h 344988"/>
                <a:gd name="connsiteX314" fmla="*/ 226879 w 344587"/>
                <a:gd name="connsiteY314" fmla="*/ 73474 h 344988"/>
                <a:gd name="connsiteX315" fmla="*/ 222361 w 344587"/>
                <a:gd name="connsiteY315" fmla="*/ 71629 h 344988"/>
                <a:gd name="connsiteX316" fmla="*/ 223687 w 344587"/>
                <a:gd name="connsiteY316" fmla="*/ 76393 h 344988"/>
                <a:gd name="connsiteX317" fmla="*/ 220576 w 344587"/>
                <a:gd name="connsiteY317" fmla="*/ 80193 h 344988"/>
                <a:gd name="connsiteX318" fmla="*/ 225418 w 344587"/>
                <a:gd name="connsiteY318" fmla="*/ 80386 h 344988"/>
                <a:gd name="connsiteX319" fmla="*/ 228015 w 344587"/>
                <a:gd name="connsiteY319" fmla="*/ 84544 h 344988"/>
                <a:gd name="connsiteX320" fmla="*/ 229692 w 344587"/>
                <a:gd name="connsiteY320" fmla="*/ 79918 h 344988"/>
                <a:gd name="connsiteX321" fmla="*/ 234399 w 344587"/>
                <a:gd name="connsiteY321" fmla="*/ 78706 h 344988"/>
                <a:gd name="connsiteX322" fmla="*/ 230585 w 344587"/>
                <a:gd name="connsiteY322" fmla="*/ 75650 h 344988"/>
                <a:gd name="connsiteX323" fmla="*/ 113678 w 344587"/>
                <a:gd name="connsiteY323" fmla="*/ 70720 h 344988"/>
                <a:gd name="connsiteX324" fmla="*/ 114002 w 344587"/>
                <a:gd name="connsiteY324" fmla="*/ 75650 h 344988"/>
                <a:gd name="connsiteX325" fmla="*/ 110188 w 344587"/>
                <a:gd name="connsiteY325" fmla="*/ 78706 h 344988"/>
                <a:gd name="connsiteX326" fmla="*/ 114895 w 344587"/>
                <a:gd name="connsiteY326" fmla="*/ 79918 h 344988"/>
                <a:gd name="connsiteX327" fmla="*/ 116572 w 344587"/>
                <a:gd name="connsiteY327" fmla="*/ 84544 h 344988"/>
                <a:gd name="connsiteX328" fmla="*/ 119169 w 344587"/>
                <a:gd name="connsiteY328" fmla="*/ 80386 h 344988"/>
                <a:gd name="connsiteX329" fmla="*/ 124011 w 344587"/>
                <a:gd name="connsiteY329" fmla="*/ 80193 h 344988"/>
                <a:gd name="connsiteX330" fmla="*/ 120900 w 344587"/>
                <a:gd name="connsiteY330" fmla="*/ 76393 h 344988"/>
                <a:gd name="connsiteX331" fmla="*/ 122226 w 344587"/>
                <a:gd name="connsiteY331" fmla="*/ 71629 h 344988"/>
                <a:gd name="connsiteX332" fmla="*/ 117708 w 344587"/>
                <a:gd name="connsiteY332" fmla="*/ 73474 h 344988"/>
                <a:gd name="connsiteX333" fmla="*/ 212334 w 344587"/>
                <a:gd name="connsiteY333" fmla="*/ 62106 h 344988"/>
                <a:gd name="connsiteX334" fmla="*/ 208828 w 344587"/>
                <a:gd name="connsiteY334" fmla="*/ 65489 h 344988"/>
                <a:gd name="connsiteX335" fmla="*/ 204046 w 344587"/>
                <a:gd name="connsiteY335" fmla="*/ 64507 h 344988"/>
                <a:gd name="connsiteX336" fmla="*/ 206165 w 344587"/>
                <a:gd name="connsiteY336" fmla="*/ 68900 h 344988"/>
                <a:gd name="connsiteX337" fmla="*/ 203747 w 344587"/>
                <a:gd name="connsiteY337" fmla="*/ 73156 h 344988"/>
                <a:gd name="connsiteX338" fmla="*/ 208584 w 344587"/>
                <a:gd name="connsiteY338" fmla="*/ 72501 h 344988"/>
                <a:gd name="connsiteX339" fmla="*/ 211844 w 344587"/>
                <a:gd name="connsiteY339" fmla="*/ 76130 h 344988"/>
                <a:gd name="connsiteX340" fmla="*/ 212714 w 344587"/>
                <a:gd name="connsiteY340" fmla="*/ 71301 h 344988"/>
                <a:gd name="connsiteX341" fmla="*/ 217170 w 344587"/>
                <a:gd name="connsiteY341" fmla="*/ 69282 h 344988"/>
                <a:gd name="connsiteX342" fmla="*/ 212877 w 344587"/>
                <a:gd name="connsiteY342" fmla="*/ 66962 h 344988"/>
                <a:gd name="connsiteX343" fmla="*/ 132182 w 344587"/>
                <a:gd name="connsiteY343" fmla="*/ 62106 h 344988"/>
                <a:gd name="connsiteX344" fmla="*/ 131646 w 344587"/>
                <a:gd name="connsiteY344" fmla="*/ 66962 h 344988"/>
                <a:gd name="connsiteX345" fmla="*/ 127417 w 344587"/>
                <a:gd name="connsiteY345" fmla="*/ 69282 h 344988"/>
                <a:gd name="connsiteX346" fmla="*/ 131807 w 344587"/>
                <a:gd name="connsiteY346" fmla="*/ 71301 h 344988"/>
                <a:gd name="connsiteX347" fmla="*/ 132663 w 344587"/>
                <a:gd name="connsiteY347" fmla="*/ 76130 h 344988"/>
                <a:gd name="connsiteX348" fmla="*/ 135875 w 344587"/>
                <a:gd name="connsiteY348" fmla="*/ 72501 h 344988"/>
                <a:gd name="connsiteX349" fmla="*/ 140640 w 344587"/>
                <a:gd name="connsiteY349" fmla="*/ 73156 h 344988"/>
                <a:gd name="connsiteX350" fmla="*/ 138258 w 344587"/>
                <a:gd name="connsiteY350" fmla="*/ 68900 h 344988"/>
                <a:gd name="connsiteX351" fmla="*/ 140345 w 344587"/>
                <a:gd name="connsiteY351" fmla="*/ 64507 h 344988"/>
                <a:gd name="connsiteX352" fmla="*/ 135635 w 344587"/>
                <a:gd name="connsiteY352" fmla="*/ 65489 h 344988"/>
                <a:gd name="connsiteX353" fmla="*/ 192615 w 344587"/>
                <a:gd name="connsiteY353" fmla="*/ 56897 h 344988"/>
                <a:gd name="connsiteX354" fmla="*/ 189761 w 344587"/>
                <a:gd name="connsiteY354" fmla="*/ 60835 h 344988"/>
                <a:gd name="connsiteX355" fmla="*/ 184915 w 344587"/>
                <a:gd name="connsiteY355" fmla="*/ 60672 h 344988"/>
                <a:gd name="connsiteX356" fmla="*/ 187742 w 344587"/>
                <a:gd name="connsiteY356" fmla="*/ 64637 h 344988"/>
                <a:gd name="connsiteX357" fmla="*/ 186127 w 344587"/>
                <a:gd name="connsiteY357" fmla="*/ 69227 h 344988"/>
                <a:gd name="connsiteX358" fmla="*/ 190704 w 344587"/>
                <a:gd name="connsiteY358" fmla="*/ 67733 h 344988"/>
                <a:gd name="connsiteX359" fmla="*/ 194527 w 344587"/>
                <a:gd name="connsiteY359" fmla="*/ 70720 h 344988"/>
                <a:gd name="connsiteX360" fmla="*/ 194554 w 344587"/>
                <a:gd name="connsiteY360" fmla="*/ 65832 h 344988"/>
                <a:gd name="connsiteX361" fmla="*/ 198538 w 344587"/>
                <a:gd name="connsiteY361" fmla="*/ 63089 h 344988"/>
                <a:gd name="connsiteX362" fmla="*/ 193961 w 344587"/>
                <a:gd name="connsiteY362" fmla="*/ 61568 h 344988"/>
                <a:gd name="connsiteX363" fmla="*/ 151859 w 344587"/>
                <a:gd name="connsiteY363" fmla="*/ 56897 h 344988"/>
                <a:gd name="connsiteX364" fmla="*/ 150493 w 344587"/>
                <a:gd name="connsiteY364" fmla="*/ 61568 h 344988"/>
                <a:gd name="connsiteX365" fmla="*/ 145849 w 344587"/>
                <a:gd name="connsiteY365" fmla="*/ 63089 h 344988"/>
                <a:gd name="connsiteX366" fmla="*/ 149892 w 344587"/>
                <a:gd name="connsiteY366" fmla="*/ 65832 h 344988"/>
                <a:gd name="connsiteX367" fmla="*/ 149919 w 344587"/>
                <a:gd name="connsiteY367" fmla="*/ 70720 h 344988"/>
                <a:gd name="connsiteX368" fmla="*/ 153798 w 344587"/>
                <a:gd name="connsiteY368" fmla="*/ 67733 h 344988"/>
                <a:gd name="connsiteX369" fmla="*/ 158443 w 344587"/>
                <a:gd name="connsiteY369" fmla="*/ 69227 h 344988"/>
                <a:gd name="connsiteX370" fmla="*/ 156804 w 344587"/>
                <a:gd name="connsiteY370" fmla="*/ 64637 h 344988"/>
                <a:gd name="connsiteX371" fmla="*/ 159672 w 344587"/>
                <a:gd name="connsiteY371" fmla="*/ 60672 h 344988"/>
                <a:gd name="connsiteX372" fmla="*/ 154755 w 344587"/>
                <a:gd name="connsiteY372" fmla="*/ 60835 h 344988"/>
                <a:gd name="connsiteX373" fmla="*/ 172307 w 344587"/>
                <a:gd name="connsiteY373" fmla="*/ 55094 h 344988"/>
                <a:gd name="connsiteX374" fmla="*/ 170121 w 344587"/>
                <a:gd name="connsiteY374" fmla="*/ 59447 h 344988"/>
                <a:gd name="connsiteX375" fmla="*/ 165282 w 344587"/>
                <a:gd name="connsiteY375" fmla="*/ 60150 h 344988"/>
                <a:gd name="connsiteX376" fmla="*/ 168781 w 344587"/>
                <a:gd name="connsiteY376" fmla="*/ 63530 h 344988"/>
                <a:gd name="connsiteX377" fmla="*/ 167961 w 344587"/>
                <a:gd name="connsiteY377" fmla="*/ 68316 h 344988"/>
                <a:gd name="connsiteX378" fmla="*/ 172307 w 344587"/>
                <a:gd name="connsiteY378" fmla="*/ 66045 h 344988"/>
                <a:gd name="connsiteX379" fmla="*/ 176627 w 344587"/>
                <a:gd name="connsiteY379" fmla="*/ 68316 h 344988"/>
                <a:gd name="connsiteX380" fmla="*/ 175806 w 344587"/>
                <a:gd name="connsiteY380" fmla="*/ 63530 h 344988"/>
                <a:gd name="connsiteX381" fmla="*/ 179306 w 344587"/>
                <a:gd name="connsiteY381" fmla="*/ 60150 h 344988"/>
                <a:gd name="connsiteX382" fmla="*/ 174467 w 344587"/>
                <a:gd name="connsiteY382" fmla="*/ 59447 h 344988"/>
                <a:gd name="connsiteX383" fmla="*/ 171615 w 344587"/>
                <a:gd name="connsiteY383" fmla="*/ 48293 h 344988"/>
                <a:gd name="connsiteX384" fmla="*/ 293719 w 344587"/>
                <a:gd name="connsiteY384" fmla="*/ 170398 h 344988"/>
                <a:gd name="connsiteX385" fmla="*/ 171615 w 344587"/>
                <a:gd name="connsiteY385" fmla="*/ 292503 h 344988"/>
                <a:gd name="connsiteX386" fmla="*/ 49510 w 344587"/>
                <a:gd name="connsiteY386" fmla="*/ 170398 h 344988"/>
                <a:gd name="connsiteX387" fmla="*/ 171615 w 344587"/>
                <a:gd name="connsiteY387" fmla="*/ 48293 h 344988"/>
                <a:gd name="connsiteX388" fmla="*/ 171615 w 344587"/>
                <a:gd name="connsiteY388" fmla="*/ 34348 h 344988"/>
                <a:gd name="connsiteX389" fmla="*/ 35565 w 344587"/>
                <a:gd name="connsiteY389" fmla="*/ 170398 h 344988"/>
                <a:gd name="connsiteX390" fmla="*/ 171615 w 344587"/>
                <a:gd name="connsiteY390" fmla="*/ 306448 h 344988"/>
                <a:gd name="connsiteX391" fmla="*/ 307665 w 344587"/>
                <a:gd name="connsiteY391" fmla="*/ 170398 h 344988"/>
                <a:gd name="connsiteX392" fmla="*/ 171615 w 344587"/>
                <a:gd name="connsiteY392" fmla="*/ 34348 h 344988"/>
                <a:gd name="connsiteX393" fmla="*/ 172307 w 344587"/>
                <a:gd name="connsiteY393" fmla="*/ 0 h 344988"/>
                <a:gd name="connsiteX394" fmla="*/ 212700 w 344587"/>
                <a:gd name="connsiteY394" fmla="*/ 21468 h 344988"/>
                <a:gd name="connsiteX395" fmla="*/ 258434 w 344587"/>
                <a:gd name="connsiteY395" fmla="*/ 23124 h 344988"/>
                <a:gd name="connsiteX396" fmla="*/ 282724 w 344587"/>
                <a:gd name="connsiteY396" fmla="*/ 61936 h 344988"/>
                <a:gd name="connsiteX397" fmla="*/ 321490 w 344587"/>
                <a:gd name="connsiteY397" fmla="*/ 86254 h 344988"/>
                <a:gd name="connsiteX398" fmla="*/ 323144 w 344587"/>
                <a:gd name="connsiteY398" fmla="*/ 132040 h 344988"/>
                <a:gd name="connsiteX399" fmla="*/ 344587 w 344587"/>
                <a:gd name="connsiteY399" fmla="*/ 172508 h 344988"/>
                <a:gd name="connsiteX400" fmla="*/ 323144 w 344587"/>
                <a:gd name="connsiteY400" fmla="*/ 212975 h 344988"/>
                <a:gd name="connsiteX401" fmla="*/ 321490 w 344587"/>
                <a:gd name="connsiteY401" fmla="*/ 258734 h 344988"/>
                <a:gd name="connsiteX402" fmla="*/ 282724 w 344587"/>
                <a:gd name="connsiteY402" fmla="*/ 283052 h 344988"/>
                <a:gd name="connsiteX403" fmla="*/ 258434 w 344587"/>
                <a:gd name="connsiteY403" fmla="*/ 321891 h 344988"/>
                <a:gd name="connsiteX404" fmla="*/ 212700 w 344587"/>
                <a:gd name="connsiteY404" fmla="*/ 323520 h 344988"/>
                <a:gd name="connsiteX405" fmla="*/ 172307 w 344587"/>
                <a:gd name="connsiteY405" fmla="*/ 344988 h 344988"/>
                <a:gd name="connsiteX406" fmla="*/ 131887 w 344587"/>
                <a:gd name="connsiteY406" fmla="*/ 323520 h 344988"/>
                <a:gd name="connsiteX407" fmla="*/ 86154 w 344587"/>
                <a:gd name="connsiteY407" fmla="*/ 321891 h 344988"/>
                <a:gd name="connsiteX408" fmla="*/ 61864 w 344587"/>
                <a:gd name="connsiteY408" fmla="*/ 283052 h 344988"/>
                <a:gd name="connsiteX409" fmla="*/ 23097 w 344587"/>
                <a:gd name="connsiteY409" fmla="*/ 258734 h 344988"/>
                <a:gd name="connsiteX410" fmla="*/ 21444 w 344587"/>
                <a:gd name="connsiteY410" fmla="*/ 212975 h 344988"/>
                <a:gd name="connsiteX411" fmla="*/ 0 w 344587"/>
                <a:gd name="connsiteY411" fmla="*/ 172508 h 344988"/>
                <a:gd name="connsiteX412" fmla="*/ 21444 w 344587"/>
                <a:gd name="connsiteY412" fmla="*/ 132040 h 344988"/>
                <a:gd name="connsiteX413" fmla="*/ 23097 w 344587"/>
                <a:gd name="connsiteY413" fmla="*/ 86254 h 344988"/>
                <a:gd name="connsiteX414" fmla="*/ 61864 w 344587"/>
                <a:gd name="connsiteY414" fmla="*/ 61936 h 344988"/>
                <a:gd name="connsiteX415" fmla="*/ 86154 w 344587"/>
                <a:gd name="connsiteY415" fmla="*/ 23124 h 344988"/>
                <a:gd name="connsiteX416" fmla="*/ 131887 w 344587"/>
                <a:gd name="connsiteY416" fmla="*/ 21468 h 344988"/>
                <a:gd name="connsiteX417" fmla="*/ 172307 w 344587"/>
                <a:gd name="connsiteY417" fmla="*/ 0 h 34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44587" h="344988">
                  <a:moveTo>
                    <a:pt x="167961" y="276672"/>
                  </a:moveTo>
                  <a:lnTo>
                    <a:pt x="168781" y="281441"/>
                  </a:lnTo>
                  <a:lnTo>
                    <a:pt x="165282" y="284827"/>
                  </a:lnTo>
                  <a:lnTo>
                    <a:pt x="170121" y="285532"/>
                  </a:lnTo>
                  <a:lnTo>
                    <a:pt x="172307" y="289894"/>
                  </a:lnTo>
                  <a:lnTo>
                    <a:pt x="174467" y="285532"/>
                  </a:lnTo>
                  <a:lnTo>
                    <a:pt x="179306" y="284827"/>
                  </a:lnTo>
                  <a:lnTo>
                    <a:pt x="175806" y="281441"/>
                  </a:lnTo>
                  <a:lnTo>
                    <a:pt x="176627" y="276672"/>
                  </a:lnTo>
                  <a:lnTo>
                    <a:pt x="172307" y="278921"/>
                  </a:lnTo>
                  <a:close/>
                  <a:moveTo>
                    <a:pt x="194527" y="274468"/>
                  </a:moveTo>
                  <a:lnTo>
                    <a:pt x="190704" y="277391"/>
                  </a:lnTo>
                  <a:lnTo>
                    <a:pt x="186127" y="275943"/>
                  </a:lnTo>
                  <a:lnTo>
                    <a:pt x="187742" y="280475"/>
                  </a:lnTo>
                  <a:lnTo>
                    <a:pt x="184915" y="284363"/>
                  </a:lnTo>
                  <a:lnTo>
                    <a:pt x="189761" y="284229"/>
                  </a:lnTo>
                  <a:lnTo>
                    <a:pt x="192615" y="288091"/>
                  </a:lnTo>
                  <a:lnTo>
                    <a:pt x="193961" y="283479"/>
                  </a:lnTo>
                  <a:lnTo>
                    <a:pt x="198538" y="281977"/>
                  </a:lnTo>
                  <a:lnTo>
                    <a:pt x="194554" y="279268"/>
                  </a:lnTo>
                  <a:close/>
                  <a:moveTo>
                    <a:pt x="149919" y="274468"/>
                  </a:moveTo>
                  <a:lnTo>
                    <a:pt x="149892" y="279268"/>
                  </a:lnTo>
                  <a:lnTo>
                    <a:pt x="145849" y="281977"/>
                  </a:lnTo>
                  <a:lnTo>
                    <a:pt x="150493" y="283479"/>
                  </a:lnTo>
                  <a:lnTo>
                    <a:pt x="151859" y="288091"/>
                  </a:lnTo>
                  <a:lnTo>
                    <a:pt x="154755" y="284229"/>
                  </a:lnTo>
                  <a:lnTo>
                    <a:pt x="159672" y="284363"/>
                  </a:lnTo>
                  <a:lnTo>
                    <a:pt x="156804" y="280475"/>
                  </a:lnTo>
                  <a:lnTo>
                    <a:pt x="158443" y="275943"/>
                  </a:lnTo>
                  <a:lnTo>
                    <a:pt x="153798" y="277391"/>
                  </a:lnTo>
                  <a:close/>
                  <a:moveTo>
                    <a:pt x="211844" y="268858"/>
                  </a:moveTo>
                  <a:lnTo>
                    <a:pt x="208584" y="272467"/>
                  </a:lnTo>
                  <a:lnTo>
                    <a:pt x="203747" y="271811"/>
                  </a:lnTo>
                  <a:lnTo>
                    <a:pt x="206165" y="276075"/>
                  </a:lnTo>
                  <a:lnTo>
                    <a:pt x="204046" y="280504"/>
                  </a:lnTo>
                  <a:lnTo>
                    <a:pt x="208828" y="279492"/>
                  </a:lnTo>
                  <a:lnTo>
                    <a:pt x="212334" y="282882"/>
                  </a:lnTo>
                  <a:lnTo>
                    <a:pt x="212877" y="278016"/>
                  </a:lnTo>
                  <a:lnTo>
                    <a:pt x="217170" y="275693"/>
                  </a:lnTo>
                  <a:lnTo>
                    <a:pt x="212714" y="273670"/>
                  </a:lnTo>
                  <a:close/>
                  <a:moveTo>
                    <a:pt x="132663" y="268858"/>
                  </a:moveTo>
                  <a:lnTo>
                    <a:pt x="131807" y="273670"/>
                  </a:lnTo>
                  <a:lnTo>
                    <a:pt x="127417" y="275693"/>
                  </a:lnTo>
                  <a:lnTo>
                    <a:pt x="131646" y="278016"/>
                  </a:lnTo>
                  <a:lnTo>
                    <a:pt x="132182" y="282882"/>
                  </a:lnTo>
                  <a:lnTo>
                    <a:pt x="135635" y="279492"/>
                  </a:lnTo>
                  <a:lnTo>
                    <a:pt x="140345" y="280504"/>
                  </a:lnTo>
                  <a:lnTo>
                    <a:pt x="138258" y="276075"/>
                  </a:lnTo>
                  <a:lnTo>
                    <a:pt x="140640" y="271811"/>
                  </a:lnTo>
                  <a:lnTo>
                    <a:pt x="135875" y="272467"/>
                  </a:lnTo>
                  <a:close/>
                  <a:moveTo>
                    <a:pt x="228015" y="260644"/>
                  </a:moveTo>
                  <a:lnTo>
                    <a:pt x="225418" y="264769"/>
                  </a:lnTo>
                  <a:lnTo>
                    <a:pt x="220576" y="264959"/>
                  </a:lnTo>
                  <a:lnTo>
                    <a:pt x="223687" y="268704"/>
                  </a:lnTo>
                  <a:lnTo>
                    <a:pt x="222361" y="273372"/>
                  </a:lnTo>
                  <a:lnTo>
                    <a:pt x="226879" y="271581"/>
                  </a:lnTo>
                  <a:lnTo>
                    <a:pt x="230910" y="274268"/>
                  </a:lnTo>
                  <a:lnTo>
                    <a:pt x="230585" y="269410"/>
                  </a:lnTo>
                  <a:lnTo>
                    <a:pt x="234399" y="266398"/>
                  </a:lnTo>
                  <a:lnTo>
                    <a:pt x="229692" y="265204"/>
                  </a:lnTo>
                  <a:close/>
                  <a:moveTo>
                    <a:pt x="116572" y="260644"/>
                  </a:moveTo>
                  <a:lnTo>
                    <a:pt x="114895" y="265204"/>
                  </a:lnTo>
                  <a:lnTo>
                    <a:pt x="110188" y="266398"/>
                  </a:lnTo>
                  <a:lnTo>
                    <a:pt x="114002" y="269410"/>
                  </a:lnTo>
                  <a:lnTo>
                    <a:pt x="113678" y="274268"/>
                  </a:lnTo>
                  <a:lnTo>
                    <a:pt x="117708" y="271581"/>
                  </a:lnTo>
                  <a:lnTo>
                    <a:pt x="122226" y="273372"/>
                  </a:lnTo>
                  <a:lnTo>
                    <a:pt x="120900" y="268704"/>
                  </a:lnTo>
                  <a:lnTo>
                    <a:pt x="124011" y="264959"/>
                  </a:lnTo>
                  <a:lnTo>
                    <a:pt x="119169" y="264769"/>
                  </a:lnTo>
                  <a:close/>
                  <a:moveTo>
                    <a:pt x="242363" y="249625"/>
                  </a:moveTo>
                  <a:lnTo>
                    <a:pt x="240527" y="254100"/>
                  </a:lnTo>
                  <a:lnTo>
                    <a:pt x="235802" y="255124"/>
                  </a:lnTo>
                  <a:lnTo>
                    <a:pt x="239501" y="258251"/>
                  </a:lnTo>
                  <a:lnTo>
                    <a:pt x="239015" y="263048"/>
                  </a:lnTo>
                  <a:lnTo>
                    <a:pt x="243119" y="260515"/>
                  </a:lnTo>
                  <a:lnTo>
                    <a:pt x="247546" y="262455"/>
                  </a:lnTo>
                  <a:lnTo>
                    <a:pt x="246413" y="257766"/>
                  </a:lnTo>
                  <a:lnTo>
                    <a:pt x="249625" y="254154"/>
                  </a:lnTo>
                  <a:lnTo>
                    <a:pt x="244792" y="253776"/>
                  </a:lnTo>
                  <a:close/>
                  <a:moveTo>
                    <a:pt x="102024" y="249625"/>
                  </a:moveTo>
                  <a:lnTo>
                    <a:pt x="99594" y="253776"/>
                  </a:lnTo>
                  <a:lnTo>
                    <a:pt x="94762" y="254154"/>
                  </a:lnTo>
                  <a:lnTo>
                    <a:pt x="97975" y="257766"/>
                  </a:lnTo>
                  <a:lnTo>
                    <a:pt x="96841" y="262455"/>
                  </a:lnTo>
                  <a:lnTo>
                    <a:pt x="101268" y="260515"/>
                  </a:lnTo>
                  <a:lnTo>
                    <a:pt x="105372" y="263048"/>
                  </a:lnTo>
                  <a:lnTo>
                    <a:pt x="104886" y="258251"/>
                  </a:lnTo>
                  <a:lnTo>
                    <a:pt x="108585" y="255124"/>
                  </a:lnTo>
                  <a:lnTo>
                    <a:pt x="103860" y="254100"/>
                  </a:lnTo>
                  <a:close/>
                  <a:moveTo>
                    <a:pt x="254712" y="236203"/>
                  </a:moveTo>
                  <a:lnTo>
                    <a:pt x="253690" y="240928"/>
                  </a:lnTo>
                  <a:lnTo>
                    <a:pt x="249225" y="242764"/>
                  </a:lnTo>
                  <a:lnTo>
                    <a:pt x="253394" y="245220"/>
                  </a:lnTo>
                  <a:lnTo>
                    <a:pt x="253771" y="250026"/>
                  </a:lnTo>
                  <a:lnTo>
                    <a:pt x="257348" y="246813"/>
                  </a:lnTo>
                  <a:lnTo>
                    <a:pt x="262056" y="247974"/>
                  </a:lnTo>
                  <a:lnTo>
                    <a:pt x="260119" y="243520"/>
                  </a:lnTo>
                  <a:lnTo>
                    <a:pt x="262648" y="239416"/>
                  </a:lnTo>
                  <a:lnTo>
                    <a:pt x="257833" y="239902"/>
                  </a:lnTo>
                  <a:close/>
                  <a:moveTo>
                    <a:pt x="89793" y="236203"/>
                  </a:moveTo>
                  <a:lnTo>
                    <a:pt x="86626" y="239902"/>
                  </a:lnTo>
                  <a:lnTo>
                    <a:pt x="81739" y="239416"/>
                  </a:lnTo>
                  <a:lnTo>
                    <a:pt x="84333" y="243520"/>
                  </a:lnTo>
                  <a:lnTo>
                    <a:pt x="82340" y="247974"/>
                  </a:lnTo>
                  <a:lnTo>
                    <a:pt x="87118" y="246813"/>
                  </a:lnTo>
                  <a:lnTo>
                    <a:pt x="90749" y="250026"/>
                  </a:lnTo>
                  <a:lnTo>
                    <a:pt x="91131" y="245220"/>
                  </a:lnTo>
                  <a:lnTo>
                    <a:pt x="95363" y="242764"/>
                  </a:lnTo>
                  <a:lnTo>
                    <a:pt x="90831" y="240928"/>
                  </a:lnTo>
                  <a:close/>
                  <a:moveTo>
                    <a:pt x="264558" y="220977"/>
                  </a:moveTo>
                  <a:lnTo>
                    <a:pt x="264341" y="225819"/>
                  </a:lnTo>
                  <a:lnTo>
                    <a:pt x="260243" y="228416"/>
                  </a:lnTo>
                  <a:lnTo>
                    <a:pt x="264803" y="230093"/>
                  </a:lnTo>
                  <a:lnTo>
                    <a:pt x="265997" y="234800"/>
                  </a:lnTo>
                  <a:lnTo>
                    <a:pt x="269009" y="230986"/>
                  </a:lnTo>
                  <a:lnTo>
                    <a:pt x="273867" y="231311"/>
                  </a:lnTo>
                  <a:lnTo>
                    <a:pt x="271180" y="227280"/>
                  </a:lnTo>
                  <a:lnTo>
                    <a:pt x="272971" y="222762"/>
                  </a:lnTo>
                  <a:lnTo>
                    <a:pt x="268276" y="224088"/>
                  </a:lnTo>
                  <a:close/>
                  <a:moveTo>
                    <a:pt x="80029" y="220977"/>
                  </a:moveTo>
                  <a:lnTo>
                    <a:pt x="76311" y="224088"/>
                  </a:lnTo>
                  <a:lnTo>
                    <a:pt x="71616" y="222762"/>
                  </a:lnTo>
                  <a:lnTo>
                    <a:pt x="73407" y="227280"/>
                  </a:lnTo>
                  <a:lnTo>
                    <a:pt x="70721" y="231311"/>
                  </a:lnTo>
                  <a:lnTo>
                    <a:pt x="75578" y="230986"/>
                  </a:lnTo>
                  <a:lnTo>
                    <a:pt x="78590" y="234800"/>
                  </a:lnTo>
                  <a:lnTo>
                    <a:pt x="79785" y="230093"/>
                  </a:lnTo>
                  <a:lnTo>
                    <a:pt x="84344" y="228416"/>
                  </a:lnTo>
                  <a:lnTo>
                    <a:pt x="80246" y="225819"/>
                  </a:lnTo>
                  <a:close/>
                  <a:moveTo>
                    <a:pt x="271410" y="204148"/>
                  </a:moveTo>
                  <a:lnTo>
                    <a:pt x="272066" y="208985"/>
                  </a:lnTo>
                  <a:lnTo>
                    <a:pt x="268457" y="212245"/>
                  </a:lnTo>
                  <a:lnTo>
                    <a:pt x="273269" y="213115"/>
                  </a:lnTo>
                  <a:lnTo>
                    <a:pt x="275292" y="217571"/>
                  </a:lnTo>
                  <a:lnTo>
                    <a:pt x="277615" y="213278"/>
                  </a:lnTo>
                  <a:lnTo>
                    <a:pt x="282481" y="212734"/>
                  </a:lnTo>
                  <a:lnTo>
                    <a:pt x="279091" y="209229"/>
                  </a:lnTo>
                  <a:lnTo>
                    <a:pt x="280076" y="204447"/>
                  </a:lnTo>
                  <a:lnTo>
                    <a:pt x="275674" y="206566"/>
                  </a:lnTo>
                  <a:close/>
                  <a:moveTo>
                    <a:pt x="73019" y="204148"/>
                  </a:moveTo>
                  <a:lnTo>
                    <a:pt x="68816" y="206566"/>
                  </a:lnTo>
                  <a:lnTo>
                    <a:pt x="64477" y="204447"/>
                  </a:lnTo>
                  <a:lnTo>
                    <a:pt x="65447" y="209229"/>
                  </a:lnTo>
                  <a:lnTo>
                    <a:pt x="62106" y="212734"/>
                  </a:lnTo>
                  <a:lnTo>
                    <a:pt x="66903" y="213278"/>
                  </a:lnTo>
                  <a:lnTo>
                    <a:pt x="69193" y="217571"/>
                  </a:lnTo>
                  <a:lnTo>
                    <a:pt x="71187" y="213115"/>
                  </a:lnTo>
                  <a:lnTo>
                    <a:pt x="75929" y="212245"/>
                  </a:lnTo>
                  <a:lnTo>
                    <a:pt x="72373" y="208985"/>
                  </a:lnTo>
                  <a:close/>
                  <a:moveTo>
                    <a:pt x="283915" y="185116"/>
                  </a:moveTo>
                  <a:lnTo>
                    <a:pt x="279950" y="187963"/>
                  </a:lnTo>
                  <a:lnTo>
                    <a:pt x="275388" y="186320"/>
                  </a:lnTo>
                  <a:lnTo>
                    <a:pt x="276854" y="191001"/>
                  </a:lnTo>
                  <a:lnTo>
                    <a:pt x="273867" y="194861"/>
                  </a:lnTo>
                  <a:lnTo>
                    <a:pt x="278755" y="194888"/>
                  </a:lnTo>
                  <a:lnTo>
                    <a:pt x="281498" y="198939"/>
                  </a:lnTo>
                  <a:lnTo>
                    <a:pt x="283019" y="194286"/>
                  </a:lnTo>
                  <a:lnTo>
                    <a:pt x="287690" y="192917"/>
                  </a:lnTo>
                  <a:lnTo>
                    <a:pt x="283780" y="190015"/>
                  </a:lnTo>
                  <a:close/>
                  <a:moveTo>
                    <a:pt x="60472" y="185116"/>
                  </a:moveTo>
                  <a:lnTo>
                    <a:pt x="60608" y="190015"/>
                  </a:lnTo>
                  <a:lnTo>
                    <a:pt x="56697" y="192917"/>
                  </a:lnTo>
                  <a:lnTo>
                    <a:pt x="61368" y="194286"/>
                  </a:lnTo>
                  <a:lnTo>
                    <a:pt x="62889" y="198939"/>
                  </a:lnTo>
                  <a:lnTo>
                    <a:pt x="65632" y="194888"/>
                  </a:lnTo>
                  <a:lnTo>
                    <a:pt x="70520" y="194861"/>
                  </a:lnTo>
                  <a:lnTo>
                    <a:pt x="67533" y="191001"/>
                  </a:lnTo>
                  <a:lnTo>
                    <a:pt x="68999" y="186320"/>
                  </a:lnTo>
                  <a:lnTo>
                    <a:pt x="64437" y="187963"/>
                  </a:lnTo>
                  <a:close/>
                  <a:moveTo>
                    <a:pt x="284437" y="165482"/>
                  </a:moveTo>
                  <a:lnTo>
                    <a:pt x="281057" y="168981"/>
                  </a:lnTo>
                  <a:lnTo>
                    <a:pt x="276271" y="168161"/>
                  </a:lnTo>
                  <a:lnTo>
                    <a:pt x="278542" y="172508"/>
                  </a:lnTo>
                  <a:lnTo>
                    <a:pt x="276271" y="176827"/>
                  </a:lnTo>
                  <a:lnTo>
                    <a:pt x="281057" y="176007"/>
                  </a:lnTo>
                  <a:lnTo>
                    <a:pt x="284437" y="179506"/>
                  </a:lnTo>
                  <a:lnTo>
                    <a:pt x="285140" y="174667"/>
                  </a:lnTo>
                  <a:lnTo>
                    <a:pt x="289493" y="172508"/>
                  </a:lnTo>
                  <a:lnTo>
                    <a:pt x="285140" y="170321"/>
                  </a:lnTo>
                  <a:close/>
                  <a:moveTo>
                    <a:pt x="60027" y="165482"/>
                  </a:moveTo>
                  <a:lnTo>
                    <a:pt x="59313" y="170321"/>
                  </a:lnTo>
                  <a:lnTo>
                    <a:pt x="54894" y="172508"/>
                  </a:lnTo>
                  <a:lnTo>
                    <a:pt x="59313" y="174667"/>
                  </a:lnTo>
                  <a:lnTo>
                    <a:pt x="60027" y="179506"/>
                  </a:lnTo>
                  <a:lnTo>
                    <a:pt x="63458" y="176007"/>
                  </a:lnTo>
                  <a:lnTo>
                    <a:pt x="68317" y="176827"/>
                  </a:lnTo>
                  <a:lnTo>
                    <a:pt x="66011" y="172508"/>
                  </a:lnTo>
                  <a:lnTo>
                    <a:pt x="68317" y="168161"/>
                  </a:lnTo>
                  <a:lnTo>
                    <a:pt x="63458" y="168981"/>
                  </a:lnTo>
                  <a:close/>
                  <a:moveTo>
                    <a:pt x="281498" y="146049"/>
                  </a:moveTo>
                  <a:lnTo>
                    <a:pt x="278755" y="150092"/>
                  </a:lnTo>
                  <a:lnTo>
                    <a:pt x="273867" y="150120"/>
                  </a:lnTo>
                  <a:lnTo>
                    <a:pt x="276854" y="153999"/>
                  </a:lnTo>
                  <a:lnTo>
                    <a:pt x="275388" y="158670"/>
                  </a:lnTo>
                  <a:lnTo>
                    <a:pt x="279950" y="157004"/>
                  </a:lnTo>
                  <a:lnTo>
                    <a:pt x="283915" y="159872"/>
                  </a:lnTo>
                  <a:lnTo>
                    <a:pt x="283780" y="154955"/>
                  </a:lnTo>
                  <a:lnTo>
                    <a:pt x="287690" y="152059"/>
                  </a:lnTo>
                  <a:lnTo>
                    <a:pt x="283019" y="150693"/>
                  </a:lnTo>
                  <a:close/>
                  <a:moveTo>
                    <a:pt x="62889" y="146049"/>
                  </a:moveTo>
                  <a:lnTo>
                    <a:pt x="61368" y="150693"/>
                  </a:lnTo>
                  <a:lnTo>
                    <a:pt x="56697" y="152059"/>
                  </a:lnTo>
                  <a:lnTo>
                    <a:pt x="60608" y="154955"/>
                  </a:lnTo>
                  <a:lnTo>
                    <a:pt x="60472" y="159872"/>
                  </a:lnTo>
                  <a:lnTo>
                    <a:pt x="64437" y="157004"/>
                  </a:lnTo>
                  <a:lnTo>
                    <a:pt x="68999" y="158670"/>
                  </a:lnTo>
                  <a:lnTo>
                    <a:pt x="67533" y="153999"/>
                  </a:lnTo>
                  <a:lnTo>
                    <a:pt x="70520" y="150120"/>
                  </a:lnTo>
                  <a:lnTo>
                    <a:pt x="65632" y="150092"/>
                  </a:lnTo>
                  <a:close/>
                  <a:moveTo>
                    <a:pt x="275292" y="127618"/>
                  </a:moveTo>
                  <a:lnTo>
                    <a:pt x="273269" y="132007"/>
                  </a:lnTo>
                  <a:lnTo>
                    <a:pt x="268457" y="132864"/>
                  </a:lnTo>
                  <a:lnTo>
                    <a:pt x="272066" y="136103"/>
                  </a:lnTo>
                  <a:lnTo>
                    <a:pt x="271410" y="140840"/>
                  </a:lnTo>
                  <a:lnTo>
                    <a:pt x="275674" y="138458"/>
                  </a:lnTo>
                  <a:lnTo>
                    <a:pt x="280076" y="140546"/>
                  </a:lnTo>
                  <a:lnTo>
                    <a:pt x="279091" y="135862"/>
                  </a:lnTo>
                  <a:lnTo>
                    <a:pt x="282481" y="132382"/>
                  </a:lnTo>
                  <a:lnTo>
                    <a:pt x="277615" y="131847"/>
                  </a:lnTo>
                  <a:close/>
                  <a:moveTo>
                    <a:pt x="69193" y="127618"/>
                  </a:moveTo>
                  <a:lnTo>
                    <a:pt x="66903" y="131847"/>
                  </a:lnTo>
                  <a:lnTo>
                    <a:pt x="62106" y="132382"/>
                  </a:lnTo>
                  <a:lnTo>
                    <a:pt x="65447" y="135862"/>
                  </a:lnTo>
                  <a:lnTo>
                    <a:pt x="64477" y="140546"/>
                  </a:lnTo>
                  <a:lnTo>
                    <a:pt x="68816" y="138458"/>
                  </a:lnTo>
                  <a:lnTo>
                    <a:pt x="73019" y="140840"/>
                  </a:lnTo>
                  <a:lnTo>
                    <a:pt x="72373" y="136103"/>
                  </a:lnTo>
                  <a:lnTo>
                    <a:pt x="75929" y="132864"/>
                  </a:lnTo>
                  <a:lnTo>
                    <a:pt x="71187" y="132007"/>
                  </a:lnTo>
                  <a:close/>
                  <a:moveTo>
                    <a:pt x="265997" y="110188"/>
                  </a:moveTo>
                  <a:lnTo>
                    <a:pt x="264803" y="114963"/>
                  </a:lnTo>
                  <a:lnTo>
                    <a:pt x="260243" y="116665"/>
                  </a:lnTo>
                  <a:lnTo>
                    <a:pt x="264341" y="119299"/>
                  </a:lnTo>
                  <a:lnTo>
                    <a:pt x="264558" y="124212"/>
                  </a:lnTo>
                  <a:lnTo>
                    <a:pt x="268276" y="121083"/>
                  </a:lnTo>
                  <a:lnTo>
                    <a:pt x="272971" y="122401"/>
                  </a:lnTo>
                  <a:lnTo>
                    <a:pt x="271180" y="117845"/>
                  </a:lnTo>
                  <a:lnTo>
                    <a:pt x="273867" y="113756"/>
                  </a:lnTo>
                  <a:lnTo>
                    <a:pt x="269009" y="114057"/>
                  </a:lnTo>
                  <a:close/>
                  <a:moveTo>
                    <a:pt x="78590" y="110188"/>
                  </a:moveTo>
                  <a:lnTo>
                    <a:pt x="75578" y="114057"/>
                  </a:lnTo>
                  <a:lnTo>
                    <a:pt x="70721" y="113756"/>
                  </a:lnTo>
                  <a:lnTo>
                    <a:pt x="73407" y="117845"/>
                  </a:lnTo>
                  <a:lnTo>
                    <a:pt x="71616" y="122401"/>
                  </a:lnTo>
                  <a:lnTo>
                    <a:pt x="76311" y="121083"/>
                  </a:lnTo>
                  <a:lnTo>
                    <a:pt x="80029" y="124212"/>
                  </a:lnTo>
                  <a:lnTo>
                    <a:pt x="80246" y="119299"/>
                  </a:lnTo>
                  <a:lnTo>
                    <a:pt x="84344" y="116665"/>
                  </a:lnTo>
                  <a:lnTo>
                    <a:pt x="79785" y="114963"/>
                  </a:lnTo>
                  <a:close/>
                  <a:moveTo>
                    <a:pt x="172293" y="107507"/>
                  </a:moveTo>
                  <a:cubicBezTo>
                    <a:pt x="169195" y="107507"/>
                    <a:pt x="166097" y="109253"/>
                    <a:pt x="164742" y="112163"/>
                  </a:cubicBezTo>
                  <a:lnTo>
                    <a:pt x="148477" y="145335"/>
                  </a:lnTo>
                  <a:lnTo>
                    <a:pt x="111881" y="150766"/>
                  </a:lnTo>
                  <a:cubicBezTo>
                    <a:pt x="108589" y="151154"/>
                    <a:pt x="106072" y="153482"/>
                    <a:pt x="104910" y="156392"/>
                  </a:cubicBezTo>
                  <a:cubicBezTo>
                    <a:pt x="103942" y="159496"/>
                    <a:pt x="104910" y="162988"/>
                    <a:pt x="107234" y="165121"/>
                  </a:cubicBezTo>
                  <a:lnTo>
                    <a:pt x="133567" y="190922"/>
                  </a:lnTo>
                  <a:lnTo>
                    <a:pt x="127371" y="227392"/>
                  </a:lnTo>
                  <a:cubicBezTo>
                    <a:pt x="126790" y="230689"/>
                    <a:pt x="128146" y="233987"/>
                    <a:pt x="130663" y="235733"/>
                  </a:cubicBezTo>
                  <a:cubicBezTo>
                    <a:pt x="132212" y="236897"/>
                    <a:pt x="133955" y="237479"/>
                    <a:pt x="135697" y="237479"/>
                  </a:cubicBezTo>
                  <a:cubicBezTo>
                    <a:pt x="137053" y="237479"/>
                    <a:pt x="138408" y="237091"/>
                    <a:pt x="139570" y="236509"/>
                  </a:cubicBezTo>
                  <a:lnTo>
                    <a:pt x="172293" y="219244"/>
                  </a:lnTo>
                  <a:lnTo>
                    <a:pt x="205016" y="236509"/>
                  </a:lnTo>
                  <a:cubicBezTo>
                    <a:pt x="206372" y="237091"/>
                    <a:pt x="207727" y="237479"/>
                    <a:pt x="209083" y="237479"/>
                  </a:cubicBezTo>
                  <a:cubicBezTo>
                    <a:pt x="210825" y="237479"/>
                    <a:pt x="212568" y="236897"/>
                    <a:pt x="213923" y="235733"/>
                  </a:cubicBezTo>
                  <a:cubicBezTo>
                    <a:pt x="216634" y="233987"/>
                    <a:pt x="217990" y="230689"/>
                    <a:pt x="217409" y="227392"/>
                  </a:cubicBezTo>
                  <a:lnTo>
                    <a:pt x="211213" y="190922"/>
                  </a:lnTo>
                  <a:lnTo>
                    <a:pt x="237546" y="165121"/>
                  </a:lnTo>
                  <a:cubicBezTo>
                    <a:pt x="239870" y="162988"/>
                    <a:pt x="240644" y="159496"/>
                    <a:pt x="239676" y="156392"/>
                  </a:cubicBezTo>
                  <a:cubicBezTo>
                    <a:pt x="238708" y="153482"/>
                    <a:pt x="235997" y="151154"/>
                    <a:pt x="232899" y="150766"/>
                  </a:cubicBezTo>
                  <a:lnTo>
                    <a:pt x="196303" y="145335"/>
                  </a:lnTo>
                  <a:lnTo>
                    <a:pt x="180038" y="112163"/>
                  </a:lnTo>
                  <a:cubicBezTo>
                    <a:pt x="178489" y="109253"/>
                    <a:pt x="175585" y="107507"/>
                    <a:pt x="172293" y="107507"/>
                  </a:cubicBezTo>
                  <a:close/>
                  <a:moveTo>
                    <a:pt x="253771" y="94962"/>
                  </a:moveTo>
                  <a:lnTo>
                    <a:pt x="253394" y="99795"/>
                  </a:lnTo>
                  <a:lnTo>
                    <a:pt x="249225" y="102225"/>
                  </a:lnTo>
                  <a:lnTo>
                    <a:pt x="253690" y="104061"/>
                  </a:lnTo>
                  <a:lnTo>
                    <a:pt x="254712" y="108785"/>
                  </a:lnTo>
                  <a:lnTo>
                    <a:pt x="257833" y="105114"/>
                  </a:lnTo>
                  <a:lnTo>
                    <a:pt x="262648" y="105573"/>
                  </a:lnTo>
                  <a:lnTo>
                    <a:pt x="260119" y="101469"/>
                  </a:lnTo>
                  <a:lnTo>
                    <a:pt x="262056" y="97041"/>
                  </a:lnTo>
                  <a:lnTo>
                    <a:pt x="257348" y="98175"/>
                  </a:lnTo>
                  <a:close/>
                  <a:moveTo>
                    <a:pt x="90749" y="94962"/>
                  </a:moveTo>
                  <a:lnTo>
                    <a:pt x="87118" y="98175"/>
                  </a:lnTo>
                  <a:lnTo>
                    <a:pt x="82340" y="97041"/>
                  </a:lnTo>
                  <a:lnTo>
                    <a:pt x="84333" y="101469"/>
                  </a:lnTo>
                  <a:lnTo>
                    <a:pt x="81739" y="105573"/>
                  </a:lnTo>
                  <a:lnTo>
                    <a:pt x="86626" y="105114"/>
                  </a:lnTo>
                  <a:lnTo>
                    <a:pt x="89793" y="108785"/>
                  </a:lnTo>
                  <a:lnTo>
                    <a:pt x="90831" y="104061"/>
                  </a:lnTo>
                  <a:lnTo>
                    <a:pt x="95363" y="102225"/>
                  </a:lnTo>
                  <a:lnTo>
                    <a:pt x="91131" y="99795"/>
                  </a:lnTo>
                  <a:close/>
                  <a:moveTo>
                    <a:pt x="239015" y="81940"/>
                  </a:moveTo>
                  <a:lnTo>
                    <a:pt x="239501" y="86827"/>
                  </a:lnTo>
                  <a:lnTo>
                    <a:pt x="235802" y="89993"/>
                  </a:lnTo>
                  <a:lnTo>
                    <a:pt x="240527" y="91031"/>
                  </a:lnTo>
                  <a:lnTo>
                    <a:pt x="242363" y="95563"/>
                  </a:lnTo>
                  <a:lnTo>
                    <a:pt x="244792" y="91331"/>
                  </a:lnTo>
                  <a:lnTo>
                    <a:pt x="249625" y="90976"/>
                  </a:lnTo>
                  <a:lnTo>
                    <a:pt x="246413" y="87318"/>
                  </a:lnTo>
                  <a:lnTo>
                    <a:pt x="247546" y="82568"/>
                  </a:lnTo>
                  <a:lnTo>
                    <a:pt x="243119" y="84533"/>
                  </a:lnTo>
                  <a:close/>
                  <a:moveTo>
                    <a:pt x="105372" y="81940"/>
                  </a:moveTo>
                  <a:lnTo>
                    <a:pt x="101268" y="84533"/>
                  </a:lnTo>
                  <a:lnTo>
                    <a:pt x="96841" y="82568"/>
                  </a:lnTo>
                  <a:lnTo>
                    <a:pt x="97975" y="87318"/>
                  </a:lnTo>
                  <a:lnTo>
                    <a:pt x="94762" y="90976"/>
                  </a:lnTo>
                  <a:lnTo>
                    <a:pt x="99594" y="91331"/>
                  </a:lnTo>
                  <a:lnTo>
                    <a:pt x="102024" y="95563"/>
                  </a:lnTo>
                  <a:lnTo>
                    <a:pt x="103860" y="91031"/>
                  </a:lnTo>
                  <a:lnTo>
                    <a:pt x="108585" y="89993"/>
                  </a:lnTo>
                  <a:lnTo>
                    <a:pt x="104886" y="86827"/>
                  </a:lnTo>
                  <a:close/>
                  <a:moveTo>
                    <a:pt x="230910" y="70720"/>
                  </a:moveTo>
                  <a:lnTo>
                    <a:pt x="226879" y="73474"/>
                  </a:lnTo>
                  <a:lnTo>
                    <a:pt x="222361" y="71629"/>
                  </a:lnTo>
                  <a:lnTo>
                    <a:pt x="223687" y="76393"/>
                  </a:lnTo>
                  <a:lnTo>
                    <a:pt x="220576" y="80193"/>
                  </a:lnTo>
                  <a:lnTo>
                    <a:pt x="225418" y="80386"/>
                  </a:lnTo>
                  <a:lnTo>
                    <a:pt x="228015" y="84544"/>
                  </a:lnTo>
                  <a:lnTo>
                    <a:pt x="229692" y="79918"/>
                  </a:lnTo>
                  <a:lnTo>
                    <a:pt x="234399" y="78706"/>
                  </a:lnTo>
                  <a:lnTo>
                    <a:pt x="230585" y="75650"/>
                  </a:lnTo>
                  <a:close/>
                  <a:moveTo>
                    <a:pt x="113678" y="70720"/>
                  </a:moveTo>
                  <a:lnTo>
                    <a:pt x="114002" y="75650"/>
                  </a:lnTo>
                  <a:lnTo>
                    <a:pt x="110188" y="78706"/>
                  </a:lnTo>
                  <a:lnTo>
                    <a:pt x="114895" y="79918"/>
                  </a:lnTo>
                  <a:lnTo>
                    <a:pt x="116572" y="84544"/>
                  </a:lnTo>
                  <a:lnTo>
                    <a:pt x="119169" y="80386"/>
                  </a:lnTo>
                  <a:lnTo>
                    <a:pt x="124011" y="80193"/>
                  </a:lnTo>
                  <a:lnTo>
                    <a:pt x="120900" y="76393"/>
                  </a:lnTo>
                  <a:lnTo>
                    <a:pt x="122226" y="71629"/>
                  </a:lnTo>
                  <a:lnTo>
                    <a:pt x="117708" y="73474"/>
                  </a:lnTo>
                  <a:close/>
                  <a:moveTo>
                    <a:pt x="212334" y="62106"/>
                  </a:moveTo>
                  <a:lnTo>
                    <a:pt x="208828" y="65489"/>
                  </a:lnTo>
                  <a:lnTo>
                    <a:pt x="204046" y="64507"/>
                  </a:lnTo>
                  <a:lnTo>
                    <a:pt x="206165" y="68900"/>
                  </a:lnTo>
                  <a:lnTo>
                    <a:pt x="203747" y="73156"/>
                  </a:lnTo>
                  <a:lnTo>
                    <a:pt x="208584" y="72501"/>
                  </a:lnTo>
                  <a:lnTo>
                    <a:pt x="211844" y="76130"/>
                  </a:lnTo>
                  <a:lnTo>
                    <a:pt x="212714" y="71301"/>
                  </a:lnTo>
                  <a:lnTo>
                    <a:pt x="217170" y="69282"/>
                  </a:lnTo>
                  <a:lnTo>
                    <a:pt x="212877" y="66962"/>
                  </a:lnTo>
                  <a:close/>
                  <a:moveTo>
                    <a:pt x="132182" y="62106"/>
                  </a:moveTo>
                  <a:lnTo>
                    <a:pt x="131646" y="66962"/>
                  </a:lnTo>
                  <a:lnTo>
                    <a:pt x="127417" y="69282"/>
                  </a:lnTo>
                  <a:lnTo>
                    <a:pt x="131807" y="71301"/>
                  </a:lnTo>
                  <a:lnTo>
                    <a:pt x="132663" y="76130"/>
                  </a:lnTo>
                  <a:lnTo>
                    <a:pt x="135875" y="72501"/>
                  </a:lnTo>
                  <a:lnTo>
                    <a:pt x="140640" y="73156"/>
                  </a:lnTo>
                  <a:lnTo>
                    <a:pt x="138258" y="68900"/>
                  </a:lnTo>
                  <a:lnTo>
                    <a:pt x="140345" y="64507"/>
                  </a:lnTo>
                  <a:lnTo>
                    <a:pt x="135635" y="65489"/>
                  </a:lnTo>
                  <a:close/>
                  <a:moveTo>
                    <a:pt x="192615" y="56897"/>
                  </a:moveTo>
                  <a:lnTo>
                    <a:pt x="189761" y="60835"/>
                  </a:lnTo>
                  <a:lnTo>
                    <a:pt x="184915" y="60672"/>
                  </a:lnTo>
                  <a:lnTo>
                    <a:pt x="187742" y="64637"/>
                  </a:lnTo>
                  <a:lnTo>
                    <a:pt x="186127" y="69227"/>
                  </a:lnTo>
                  <a:lnTo>
                    <a:pt x="190704" y="67733"/>
                  </a:lnTo>
                  <a:lnTo>
                    <a:pt x="194527" y="70720"/>
                  </a:lnTo>
                  <a:lnTo>
                    <a:pt x="194554" y="65832"/>
                  </a:lnTo>
                  <a:lnTo>
                    <a:pt x="198538" y="63089"/>
                  </a:lnTo>
                  <a:lnTo>
                    <a:pt x="193961" y="61568"/>
                  </a:lnTo>
                  <a:close/>
                  <a:moveTo>
                    <a:pt x="151859" y="56897"/>
                  </a:moveTo>
                  <a:lnTo>
                    <a:pt x="150493" y="61568"/>
                  </a:lnTo>
                  <a:lnTo>
                    <a:pt x="145849" y="63089"/>
                  </a:lnTo>
                  <a:lnTo>
                    <a:pt x="149892" y="65832"/>
                  </a:lnTo>
                  <a:lnTo>
                    <a:pt x="149919" y="70720"/>
                  </a:lnTo>
                  <a:lnTo>
                    <a:pt x="153798" y="67733"/>
                  </a:lnTo>
                  <a:lnTo>
                    <a:pt x="158443" y="69227"/>
                  </a:lnTo>
                  <a:lnTo>
                    <a:pt x="156804" y="64637"/>
                  </a:lnTo>
                  <a:lnTo>
                    <a:pt x="159672" y="60672"/>
                  </a:lnTo>
                  <a:lnTo>
                    <a:pt x="154755" y="60835"/>
                  </a:lnTo>
                  <a:close/>
                  <a:moveTo>
                    <a:pt x="172307" y="55094"/>
                  </a:moveTo>
                  <a:lnTo>
                    <a:pt x="170121" y="59447"/>
                  </a:lnTo>
                  <a:lnTo>
                    <a:pt x="165282" y="60150"/>
                  </a:lnTo>
                  <a:lnTo>
                    <a:pt x="168781" y="63530"/>
                  </a:lnTo>
                  <a:lnTo>
                    <a:pt x="167961" y="68316"/>
                  </a:lnTo>
                  <a:lnTo>
                    <a:pt x="172307" y="66045"/>
                  </a:lnTo>
                  <a:lnTo>
                    <a:pt x="176627" y="68316"/>
                  </a:lnTo>
                  <a:lnTo>
                    <a:pt x="175806" y="63530"/>
                  </a:lnTo>
                  <a:lnTo>
                    <a:pt x="179306" y="60150"/>
                  </a:lnTo>
                  <a:lnTo>
                    <a:pt x="174467" y="59447"/>
                  </a:lnTo>
                  <a:close/>
                  <a:moveTo>
                    <a:pt x="171615" y="48293"/>
                  </a:moveTo>
                  <a:cubicBezTo>
                    <a:pt x="239051" y="48293"/>
                    <a:pt x="293719" y="102961"/>
                    <a:pt x="293719" y="170398"/>
                  </a:cubicBezTo>
                  <a:cubicBezTo>
                    <a:pt x="293719" y="237834"/>
                    <a:pt x="239051" y="292503"/>
                    <a:pt x="171615" y="292503"/>
                  </a:cubicBezTo>
                  <a:cubicBezTo>
                    <a:pt x="104179" y="292503"/>
                    <a:pt x="49510" y="237834"/>
                    <a:pt x="49510" y="170398"/>
                  </a:cubicBezTo>
                  <a:cubicBezTo>
                    <a:pt x="49510" y="102961"/>
                    <a:pt x="104179" y="48293"/>
                    <a:pt x="171615" y="48293"/>
                  </a:cubicBezTo>
                  <a:close/>
                  <a:moveTo>
                    <a:pt x="171615" y="34348"/>
                  </a:moveTo>
                  <a:cubicBezTo>
                    <a:pt x="96477" y="34348"/>
                    <a:pt x="35565" y="95260"/>
                    <a:pt x="35565" y="170398"/>
                  </a:cubicBezTo>
                  <a:cubicBezTo>
                    <a:pt x="35565" y="245536"/>
                    <a:pt x="96477" y="306448"/>
                    <a:pt x="171615" y="306448"/>
                  </a:cubicBezTo>
                  <a:cubicBezTo>
                    <a:pt x="246753" y="306448"/>
                    <a:pt x="307665" y="245536"/>
                    <a:pt x="307665" y="170398"/>
                  </a:cubicBezTo>
                  <a:cubicBezTo>
                    <a:pt x="307665" y="95260"/>
                    <a:pt x="246753" y="34348"/>
                    <a:pt x="171615" y="34348"/>
                  </a:cubicBezTo>
                  <a:close/>
                  <a:moveTo>
                    <a:pt x="172307" y="0"/>
                  </a:moveTo>
                  <a:cubicBezTo>
                    <a:pt x="186784" y="0"/>
                    <a:pt x="198956" y="17777"/>
                    <a:pt x="212700" y="21468"/>
                  </a:cubicBezTo>
                  <a:cubicBezTo>
                    <a:pt x="226580" y="25187"/>
                    <a:pt x="246018" y="15932"/>
                    <a:pt x="258434" y="23124"/>
                  </a:cubicBezTo>
                  <a:cubicBezTo>
                    <a:pt x="270768" y="30235"/>
                    <a:pt x="272476" y="51703"/>
                    <a:pt x="282724" y="61936"/>
                  </a:cubicBezTo>
                  <a:cubicBezTo>
                    <a:pt x="292944" y="72195"/>
                    <a:pt x="314387" y="73905"/>
                    <a:pt x="321490" y="86254"/>
                  </a:cubicBezTo>
                  <a:cubicBezTo>
                    <a:pt x="328674" y="98684"/>
                    <a:pt x="319430" y="118144"/>
                    <a:pt x="323144" y="132040"/>
                  </a:cubicBezTo>
                  <a:cubicBezTo>
                    <a:pt x="326831" y="145801"/>
                    <a:pt x="344587" y="158014"/>
                    <a:pt x="344587" y="172508"/>
                  </a:cubicBezTo>
                  <a:cubicBezTo>
                    <a:pt x="344587" y="187001"/>
                    <a:pt x="326831" y="199214"/>
                    <a:pt x="323144" y="212975"/>
                  </a:cubicBezTo>
                  <a:cubicBezTo>
                    <a:pt x="319430" y="226844"/>
                    <a:pt x="328674" y="246304"/>
                    <a:pt x="321490" y="258734"/>
                  </a:cubicBezTo>
                  <a:cubicBezTo>
                    <a:pt x="314387" y="271083"/>
                    <a:pt x="292944" y="272793"/>
                    <a:pt x="282724" y="283052"/>
                  </a:cubicBezTo>
                  <a:cubicBezTo>
                    <a:pt x="272476" y="293312"/>
                    <a:pt x="270768" y="314753"/>
                    <a:pt x="258434" y="321891"/>
                  </a:cubicBezTo>
                  <a:cubicBezTo>
                    <a:pt x="246018" y="329056"/>
                    <a:pt x="226580" y="319801"/>
                    <a:pt x="212700" y="323520"/>
                  </a:cubicBezTo>
                  <a:cubicBezTo>
                    <a:pt x="198956" y="327211"/>
                    <a:pt x="186784" y="344988"/>
                    <a:pt x="172307" y="344988"/>
                  </a:cubicBezTo>
                  <a:cubicBezTo>
                    <a:pt x="157804" y="344988"/>
                    <a:pt x="145632" y="327211"/>
                    <a:pt x="131887" y="323520"/>
                  </a:cubicBezTo>
                  <a:cubicBezTo>
                    <a:pt x="118007" y="319801"/>
                    <a:pt x="98570" y="329056"/>
                    <a:pt x="86154" y="321891"/>
                  </a:cubicBezTo>
                  <a:cubicBezTo>
                    <a:pt x="73819" y="314753"/>
                    <a:pt x="72111" y="293312"/>
                    <a:pt x="61864" y="283052"/>
                  </a:cubicBezTo>
                  <a:cubicBezTo>
                    <a:pt x="51644" y="272793"/>
                    <a:pt x="30200" y="271083"/>
                    <a:pt x="23097" y="258734"/>
                  </a:cubicBezTo>
                  <a:cubicBezTo>
                    <a:pt x="15913" y="246304"/>
                    <a:pt x="25158" y="226844"/>
                    <a:pt x="21444" y="212975"/>
                  </a:cubicBezTo>
                  <a:cubicBezTo>
                    <a:pt x="17757" y="199214"/>
                    <a:pt x="0" y="187001"/>
                    <a:pt x="0" y="172508"/>
                  </a:cubicBezTo>
                  <a:cubicBezTo>
                    <a:pt x="0" y="158014"/>
                    <a:pt x="17757" y="145801"/>
                    <a:pt x="21444" y="132040"/>
                  </a:cubicBezTo>
                  <a:cubicBezTo>
                    <a:pt x="25158" y="118144"/>
                    <a:pt x="15913" y="98684"/>
                    <a:pt x="23097" y="86254"/>
                  </a:cubicBezTo>
                  <a:cubicBezTo>
                    <a:pt x="30200" y="73905"/>
                    <a:pt x="51644" y="72195"/>
                    <a:pt x="61864" y="61936"/>
                  </a:cubicBezTo>
                  <a:cubicBezTo>
                    <a:pt x="72111" y="51703"/>
                    <a:pt x="73819" y="30235"/>
                    <a:pt x="86154" y="23124"/>
                  </a:cubicBezTo>
                  <a:cubicBezTo>
                    <a:pt x="98570" y="15932"/>
                    <a:pt x="118007" y="25187"/>
                    <a:pt x="131887" y="21468"/>
                  </a:cubicBezTo>
                  <a:cubicBezTo>
                    <a:pt x="145632" y="17777"/>
                    <a:pt x="157804" y="0"/>
                    <a:pt x="17230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352">
              <a:extLst>
                <a:ext uri="{FF2B5EF4-FFF2-40B4-BE49-F238E27FC236}">
                  <a16:creationId xmlns:a16="http://schemas.microsoft.com/office/drawing/2014/main" id="{02E74E3F-674C-468C-B05E-B8BF34A8A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6243" y="443760"/>
              <a:ext cx="145448" cy="207954"/>
            </a:xfrm>
            <a:custGeom>
              <a:avLst/>
              <a:gdLst>
                <a:gd name="T0" fmla="*/ 3234 w 5365"/>
                <a:gd name="T1" fmla="*/ 384 h 7662"/>
                <a:gd name="T2" fmla="*/ 1547 w 5365"/>
                <a:gd name="T3" fmla="*/ 444 h 7662"/>
                <a:gd name="T4" fmla="*/ 57 w 5365"/>
                <a:gd name="T5" fmla="*/ 1235 h 7662"/>
                <a:gd name="T6" fmla="*/ 0 w 5365"/>
                <a:gd name="T7" fmla="*/ 1233 h 7662"/>
                <a:gd name="T8" fmla="*/ 1722 w 5365"/>
                <a:gd name="T9" fmla="*/ 7662 h 7662"/>
                <a:gd name="T10" fmla="*/ 3185 w 5365"/>
                <a:gd name="T11" fmla="*/ 5834 h 7662"/>
                <a:gd name="T12" fmla="*/ 5365 w 5365"/>
                <a:gd name="T13" fmla="*/ 6686 h 7662"/>
                <a:gd name="T14" fmla="*/ 3574 w 5365"/>
                <a:gd name="T15" fmla="*/ 0 h 7662"/>
                <a:gd name="T16" fmla="*/ 3234 w 5365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5" h="7662">
                  <a:moveTo>
                    <a:pt x="3234" y="384"/>
                  </a:moveTo>
                  <a:cubicBezTo>
                    <a:pt x="2776" y="649"/>
                    <a:pt x="2059" y="307"/>
                    <a:pt x="1547" y="444"/>
                  </a:cubicBezTo>
                  <a:cubicBezTo>
                    <a:pt x="1040" y="580"/>
                    <a:pt x="591" y="1235"/>
                    <a:pt x="57" y="1235"/>
                  </a:cubicBezTo>
                  <a:cubicBezTo>
                    <a:pt x="37" y="1235"/>
                    <a:pt x="18" y="1235"/>
                    <a:pt x="0" y="1233"/>
                  </a:cubicBezTo>
                  <a:lnTo>
                    <a:pt x="1722" y="7662"/>
                  </a:lnTo>
                  <a:lnTo>
                    <a:pt x="3185" y="5834"/>
                  </a:lnTo>
                  <a:lnTo>
                    <a:pt x="5365" y="6686"/>
                  </a:lnTo>
                  <a:lnTo>
                    <a:pt x="3574" y="0"/>
                  </a:lnTo>
                  <a:cubicBezTo>
                    <a:pt x="3485" y="162"/>
                    <a:pt x="3380" y="300"/>
                    <a:pt x="3234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353">
              <a:extLst>
                <a:ext uri="{FF2B5EF4-FFF2-40B4-BE49-F238E27FC236}">
                  <a16:creationId xmlns:a16="http://schemas.microsoft.com/office/drawing/2014/main" id="{DAD1C763-E31E-4212-98CA-65F48FEFF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373" y="443760"/>
              <a:ext cx="145448" cy="207954"/>
            </a:xfrm>
            <a:custGeom>
              <a:avLst/>
              <a:gdLst>
                <a:gd name="T0" fmla="*/ 2131 w 5366"/>
                <a:gd name="T1" fmla="*/ 384 h 7662"/>
                <a:gd name="T2" fmla="*/ 3818 w 5366"/>
                <a:gd name="T3" fmla="*/ 444 h 7662"/>
                <a:gd name="T4" fmla="*/ 5308 w 5366"/>
                <a:gd name="T5" fmla="*/ 1235 h 7662"/>
                <a:gd name="T6" fmla="*/ 5366 w 5366"/>
                <a:gd name="T7" fmla="*/ 1233 h 7662"/>
                <a:gd name="T8" fmla="*/ 3643 w 5366"/>
                <a:gd name="T9" fmla="*/ 7662 h 7662"/>
                <a:gd name="T10" fmla="*/ 2180 w 5366"/>
                <a:gd name="T11" fmla="*/ 5834 h 7662"/>
                <a:gd name="T12" fmla="*/ 0 w 5366"/>
                <a:gd name="T13" fmla="*/ 6686 h 7662"/>
                <a:gd name="T14" fmla="*/ 1791 w 5366"/>
                <a:gd name="T15" fmla="*/ 0 h 7662"/>
                <a:gd name="T16" fmla="*/ 2131 w 5366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6" h="7662">
                  <a:moveTo>
                    <a:pt x="2131" y="384"/>
                  </a:moveTo>
                  <a:cubicBezTo>
                    <a:pt x="2589" y="649"/>
                    <a:pt x="3306" y="307"/>
                    <a:pt x="3818" y="444"/>
                  </a:cubicBezTo>
                  <a:cubicBezTo>
                    <a:pt x="4325" y="580"/>
                    <a:pt x="4774" y="1235"/>
                    <a:pt x="5308" y="1235"/>
                  </a:cubicBezTo>
                  <a:cubicBezTo>
                    <a:pt x="5328" y="1235"/>
                    <a:pt x="5347" y="1235"/>
                    <a:pt x="5366" y="1233"/>
                  </a:cubicBezTo>
                  <a:lnTo>
                    <a:pt x="3643" y="7662"/>
                  </a:lnTo>
                  <a:lnTo>
                    <a:pt x="2180" y="5834"/>
                  </a:lnTo>
                  <a:lnTo>
                    <a:pt x="0" y="6686"/>
                  </a:lnTo>
                  <a:lnTo>
                    <a:pt x="1791" y="0"/>
                  </a:lnTo>
                  <a:cubicBezTo>
                    <a:pt x="1880" y="162"/>
                    <a:pt x="1985" y="300"/>
                    <a:pt x="2131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" name="ZoneTexte 13">
            <a:extLst>
              <a:ext uri="{FF2B5EF4-FFF2-40B4-BE49-F238E27FC236}">
                <a16:creationId xmlns:a16="http://schemas.microsoft.com/office/drawing/2014/main" id="{81D349E7-2792-4173-B922-B597DE13B126}"/>
              </a:ext>
            </a:extLst>
          </p:cNvPr>
          <p:cNvSpPr txBox="1"/>
          <p:nvPr/>
        </p:nvSpPr>
        <p:spPr>
          <a:xfrm>
            <a:off x="253232" y="2764609"/>
            <a:ext cx="7585751" cy="36933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6700" algn="just"/>
            <a:r>
              <a:rPr lang="fr-FR" b="1" dirty="0">
                <a:effectLst/>
                <a:highlight>
                  <a:srgbClr val="FFFF00"/>
                </a:highlight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Classe 1 : Comptes de capitaux.</a:t>
            </a:r>
            <a:endParaRPr lang="fr-FR" dirty="0">
              <a:effectLst/>
              <a:highlight>
                <a:srgbClr val="FFFF00"/>
              </a:highlight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66700" algn="just"/>
            <a:r>
              <a:rPr lang="fr-FR" b="1" dirty="0">
                <a:effectLst/>
                <a:highlight>
                  <a:srgbClr val="FFFF00"/>
                </a:highlight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fr-FR" dirty="0">
              <a:effectLst/>
              <a:highlight>
                <a:srgbClr val="FFFF00"/>
              </a:highlight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66700" algn="just"/>
            <a:r>
              <a:rPr lang="fr-FR" b="1" dirty="0">
                <a:effectLst/>
                <a:highlight>
                  <a:srgbClr val="FFFF00"/>
                </a:highlight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Classe 2 : Comptes d'immobilisations. </a:t>
            </a:r>
            <a:endParaRPr lang="fr-FR" dirty="0">
              <a:effectLst/>
              <a:highlight>
                <a:srgbClr val="FFFF00"/>
              </a:highlight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66700" algn="just"/>
            <a:r>
              <a:rPr lang="fr-FR" b="1" dirty="0">
                <a:effectLst/>
                <a:highlight>
                  <a:srgbClr val="FFFF00"/>
                </a:highlight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fr-FR" dirty="0">
              <a:effectLst/>
              <a:highlight>
                <a:srgbClr val="FFFF00"/>
              </a:highlight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66700" algn="just"/>
            <a:r>
              <a:rPr lang="fr-FR" b="1" dirty="0">
                <a:effectLst/>
                <a:highlight>
                  <a:srgbClr val="FFFF00"/>
                </a:highlight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Classe 3 : Comptes de stocks.</a:t>
            </a:r>
            <a:endParaRPr lang="fr-FR" dirty="0">
              <a:effectLst/>
              <a:highlight>
                <a:srgbClr val="FFFF00"/>
              </a:highlight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66700" algn="just"/>
            <a:r>
              <a:rPr lang="fr-FR" b="1" dirty="0">
                <a:effectLst/>
                <a:highlight>
                  <a:srgbClr val="FFFF00"/>
                </a:highlight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fr-FR" dirty="0">
              <a:effectLst/>
              <a:highlight>
                <a:srgbClr val="FFFF00"/>
              </a:highlight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66700" algn="just"/>
            <a:r>
              <a:rPr lang="fr-FR" b="1" dirty="0">
                <a:effectLst/>
                <a:highlight>
                  <a:srgbClr val="FFFF00"/>
                </a:highlight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Classe 4 : Comptes de tiers (créances et / ou dettes).</a:t>
            </a:r>
            <a:endParaRPr lang="fr-FR" dirty="0">
              <a:effectLst/>
              <a:highlight>
                <a:srgbClr val="FFFF00"/>
              </a:highlight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66700" algn="just"/>
            <a:r>
              <a:rPr lang="fr-FR" b="1" dirty="0">
                <a:effectLst/>
                <a:highlight>
                  <a:srgbClr val="FFFF00"/>
                </a:highlight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fr-FR" dirty="0">
              <a:effectLst/>
              <a:highlight>
                <a:srgbClr val="FFFF00"/>
              </a:highlight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66700" algn="just"/>
            <a:r>
              <a:rPr lang="fr-FR" b="1" dirty="0">
                <a:effectLst/>
                <a:highlight>
                  <a:srgbClr val="FFFF00"/>
                </a:highlight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Classe 5 : Comptes financiers (banque, caisse ….).</a:t>
            </a:r>
            <a:endParaRPr lang="fr-FR" dirty="0">
              <a:effectLst/>
              <a:highlight>
                <a:srgbClr val="FFFF00"/>
              </a:highlight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66700" algn="just"/>
            <a:r>
              <a:rPr lang="fr-FR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fr-FR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66700" algn="just"/>
            <a:r>
              <a:rPr lang="fr-FR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Classe 6 : Comptes de charges.</a:t>
            </a:r>
            <a:endParaRPr lang="fr-FR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66700" algn="just"/>
            <a:r>
              <a:rPr lang="fr-FR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fr-FR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66700" algn="just"/>
            <a:r>
              <a:rPr lang="fr-FR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Classe 7 : Comptes de produits.</a:t>
            </a:r>
            <a:endParaRPr lang="fr-FR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599514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4" name="Rectangle 83">
            <a:extLst>
              <a:ext uri="{FF2B5EF4-FFF2-40B4-BE49-F238E27FC236}">
                <a16:creationId xmlns:a16="http://schemas.microsoft.com/office/drawing/2014/main" id="{F13C74B1-5B17-4795-BED0-7140497B44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517F6E-26E9-44E8-815E-774552D9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707" y="334971"/>
            <a:ext cx="5807759" cy="1947239"/>
          </a:xfrm>
          <a:prstGeom prst="ellipse">
            <a:avLst/>
          </a:prstGeom>
        </p:spPr>
        <p:txBody>
          <a:bodyPr vert="horz" lIns="91440" tIns="45720" rIns="91440" bIns="45720" rtlCol="0" anchor="b">
            <a:normAutofit fontScale="90000"/>
          </a:bodyPr>
          <a:lstStyle/>
          <a:p>
            <a:br>
              <a:rPr lang="en-US" sz="4800" dirty="0"/>
            </a:br>
            <a:r>
              <a:rPr lang="en-US" dirty="0"/>
              <a:t>Les </a:t>
            </a:r>
            <a:r>
              <a:rPr lang="en-US" dirty="0" err="1"/>
              <a:t>comptes</a:t>
            </a:r>
            <a:r>
              <a:rPr lang="en-US" dirty="0"/>
              <a:t> du </a:t>
            </a:r>
            <a:r>
              <a:rPr lang="en-US" dirty="0" err="1"/>
              <a:t>bilan</a:t>
            </a:r>
            <a:endParaRPr lang="en-US" sz="4600" dirty="0"/>
          </a:p>
        </p:txBody>
      </p:sp>
      <p:sp>
        <p:nvSpPr>
          <p:cNvPr id="86" name="sketchy line">
            <a:extLst>
              <a:ext uri="{FF2B5EF4-FFF2-40B4-BE49-F238E27FC236}">
                <a16:creationId xmlns:a16="http://schemas.microsoft.com/office/drawing/2014/main" id="{D4974D33-8DC5-464E-8C6D-BE58F0669C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0080" y="2586994"/>
            <a:ext cx="3474720" cy="18288"/>
          </a:xfrm>
          <a:custGeom>
            <a:avLst/>
            <a:gdLst>
              <a:gd name="connsiteX0" fmla="*/ 0 w 3474720"/>
              <a:gd name="connsiteY0" fmla="*/ 0 h 18288"/>
              <a:gd name="connsiteX1" fmla="*/ 694944 w 3474720"/>
              <a:gd name="connsiteY1" fmla="*/ 0 h 18288"/>
              <a:gd name="connsiteX2" fmla="*/ 1355141 w 3474720"/>
              <a:gd name="connsiteY2" fmla="*/ 0 h 18288"/>
              <a:gd name="connsiteX3" fmla="*/ 2015338 w 3474720"/>
              <a:gd name="connsiteY3" fmla="*/ 0 h 18288"/>
              <a:gd name="connsiteX4" fmla="*/ 2779776 w 3474720"/>
              <a:gd name="connsiteY4" fmla="*/ 0 h 18288"/>
              <a:gd name="connsiteX5" fmla="*/ 3474720 w 3474720"/>
              <a:gd name="connsiteY5" fmla="*/ 0 h 18288"/>
              <a:gd name="connsiteX6" fmla="*/ 3474720 w 3474720"/>
              <a:gd name="connsiteY6" fmla="*/ 18288 h 18288"/>
              <a:gd name="connsiteX7" fmla="*/ 2779776 w 3474720"/>
              <a:gd name="connsiteY7" fmla="*/ 18288 h 18288"/>
              <a:gd name="connsiteX8" fmla="*/ 2189074 w 3474720"/>
              <a:gd name="connsiteY8" fmla="*/ 18288 h 18288"/>
              <a:gd name="connsiteX9" fmla="*/ 1528877 w 3474720"/>
              <a:gd name="connsiteY9" fmla="*/ 18288 h 18288"/>
              <a:gd name="connsiteX10" fmla="*/ 868680 w 3474720"/>
              <a:gd name="connsiteY10" fmla="*/ 18288 h 18288"/>
              <a:gd name="connsiteX11" fmla="*/ 0 w 3474720"/>
              <a:gd name="connsiteY11" fmla="*/ 18288 h 18288"/>
              <a:gd name="connsiteX12" fmla="*/ 0 w 3474720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474720" h="18288" fill="none" extrusionOk="0">
                <a:moveTo>
                  <a:pt x="0" y="0"/>
                </a:moveTo>
                <a:cubicBezTo>
                  <a:pt x="224454" y="-14544"/>
                  <a:pt x="495407" y="26540"/>
                  <a:pt x="694944" y="0"/>
                </a:cubicBezTo>
                <a:cubicBezTo>
                  <a:pt x="894481" y="-26540"/>
                  <a:pt x="1130063" y="24713"/>
                  <a:pt x="1355141" y="0"/>
                </a:cubicBezTo>
                <a:cubicBezTo>
                  <a:pt x="1580219" y="-24713"/>
                  <a:pt x="1820099" y="26695"/>
                  <a:pt x="2015338" y="0"/>
                </a:cubicBezTo>
                <a:cubicBezTo>
                  <a:pt x="2210577" y="-26695"/>
                  <a:pt x="2402045" y="165"/>
                  <a:pt x="2779776" y="0"/>
                </a:cubicBezTo>
                <a:cubicBezTo>
                  <a:pt x="3157507" y="-165"/>
                  <a:pt x="3286859" y="-15571"/>
                  <a:pt x="3474720" y="0"/>
                </a:cubicBezTo>
                <a:cubicBezTo>
                  <a:pt x="3474286" y="7551"/>
                  <a:pt x="3474253" y="9822"/>
                  <a:pt x="3474720" y="18288"/>
                </a:cubicBezTo>
                <a:cubicBezTo>
                  <a:pt x="3233904" y="29845"/>
                  <a:pt x="2945134" y="-5256"/>
                  <a:pt x="2779776" y="18288"/>
                </a:cubicBezTo>
                <a:cubicBezTo>
                  <a:pt x="2614418" y="41832"/>
                  <a:pt x="2339768" y="22709"/>
                  <a:pt x="2189074" y="18288"/>
                </a:cubicBezTo>
                <a:cubicBezTo>
                  <a:pt x="2038380" y="13867"/>
                  <a:pt x="1817434" y="-4947"/>
                  <a:pt x="1528877" y="18288"/>
                </a:cubicBezTo>
                <a:cubicBezTo>
                  <a:pt x="1240320" y="41523"/>
                  <a:pt x="1042447" y="37198"/>
                  <a:pt x="868680" y="18288"/>
                </a:cubicBezTo>
                <a:cubicBezTo>
                  <a:pt x="694913" y="-622"/>
                  <a:pt x="233232" y="44909"/>
                  <a:pt x="0" y="18288"/>
                </a:cubicBezTo>
                <a:cubicBezTo>
                  <a:pt x="60" y="11696"/>
                  <a:pt x="66" y="3758"/>
                  <a:pt x="0" y="0"/>
                </a:cubicBezTo>
                <a:close/>
              </a:path>
              <a:path w="3474720" h="18288" stroke="0" extrusionOk="0">
                <a:moveTo>
                  <a:pt x="0" y="0"/>
                </a:moveTo>
                <a:cubicBezTo>
                  <a:pt x="202328" y="-14716"/>
                  <a:pt x="332722" y="-11499"/>
                  <a:pt x="625450" y="0"/>
                </a:cubicBezTo>
                <a:cubicBezTo>
                  <a:pt x="918178" y="11499"/>
                  <a:pt x="1096688" y="5123"/>
                  <a:pt x="1389888" y="0"/>
                </a:cubicBezTo>
                <a:cubicBezTo>
                  <a:pt x="1683088" y="-5123"/>
                  <a:pt x="1835981" y="-14038"/>
                  <a:pt x="1980590" y="0"/>
                </a:cubicBezTo>
                <a:cubicBezTo>
                  <a:pt x="2125199" y="14038"/>
                  <a:pt x="2396099" y="-7203"/>
                  <a:pt x="2571293" y="0"/>
                </a:cubicBezTo>
                <a:cubicBezTo>
                  <a:pt x="2746487" y="7203"/>
                  <a:pt x="3041609" y="-12036"/>
                  <a:pt x="3474720" y="0"/>
                </a:cubicBezTo>
                <a:cubicBezTo>
                  <a:pt x="3474638" y="4406"/>
                  <a:pt x="3474631" y="9982"/>
                  <a:pt x="3474720" y="18288"/>
                </a:cubicBezTo>
                <a:cubicBezTo>
                  <a:pt x="3324873" y="21876"/>
                  <a:pt x="3136771" y="12587"/>
                  <a:pt x="2814523" y="18288"/>
                </a:cubicBezTo>
                <a:cubicBezTo>
                  <a:pt x="2492275" y="23989"/>
                  <a:pt x="2294402" y="47111"/>
                  <a:pt x="2154326" y="18288"/>
                </a:cubicBezTo>
                <a:cubicBezTo>
                  <a:pt x="2014250" y="-10535"/>
                  <a:pt x="1820317" y="33903"/>
                  <a:pt x="1494130" y="18288"/>
                </a:cubicBezTo>
                <a:cubicBezTo>
                  <a:pt x="1167943" y="2673"/>
                  <a:pt x="948432" y="14868"/>
                  <a:pt x="729691" y="18288"/>
                </a:cubicBezTo>
                <a:cubicBezTo>
                  <a:pt x="510950" y="21708"/>
                  <a:pt x="264032" y="24354"/>
                  <a:pt x="0" y="18288"/>
                </a:cubicBezTo>
                <a:cubicBezTo>
                  <a:pt x="189" y="14288"/>
                  <a:pt x="-703" y="374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DFEA2082-E7DE-4453-8158-54F380B94285}"/>
              </a:ext>
            </a:extLst>
          </p:cNvPr>
          <p:cNvSpPr txBox="1"/>
          <p:nvPr/>
        </p:nvSpPr>
        <p:spPr>
          <a:xfrm>
            <a:off x="640080" y="2872899"/>
            <a:ext cx="4243589" cy="33206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 dirty="0"/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FC9EF324-339C-4E46-9508-BF0C86AAC79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l="10828" r="22745" b="1"/>
          <a:stretch/>
        </p:blipFill>
        <p:spPr>
          <a:xfrm>
            <a:off x="5311702" y="10"/>
            <a:ext cx="6878775" cy="6857990"/>
          </a:xfrm>
          <a:custGeom>
            <a:avLst/>
            <a:gdLst/>
            <a:ahLst/>
            <a:cxnLst/>
            <a:rect l="l" t="t" r="r" b="b"/>
            <a:pathLst>
              <a:path w="6878775" h="6858000">
                <a:moveTo>
                  <a:pt x="1102973" y="0"/>
                </a:moveTo>
                <a:lnTo>
                  <a:pt x="1160688" y="0"/>
                </a:lnTo>
                <a:lnTo>
                  <a:pt x="983189" y="331786"/>
                </a:lnTo>
                <a:cubicBezTo>
                  <a:pt x="914866" y="469145"/>
                  <a:pt x="850355" y="608712"/>
                  <a:pt x="789261" y="750263"/>
                </a:cubicBezTo>
                <a:cubicBezTo>
                  <a:pt x="774307" y="784928"/>
                  <a:pt x="759992" y="819849"/>
                  <a:pt x="745295" y="854514"/>
                </a:cubicBezTo>
                <a:cubicBezTo>
                  <a:pt x="756682" y="845393"/>
                  <a:pt x="765489" y="833492"/>
                  <a:pt x="770857" y="819975"/>
                </a:cubicBezTo>
                <a:cubicBezTo>
                  <a:pt x="879943" y="589569"/>
                  <a:pt x="999605" y="365513"/>
                  <a:pt x="1131329" y="148742"/>
                </a:cubicBezTo>
                <a:lnTo>
                  <a:pt x="1227589" y="0"/>
                </a:lnTo>
                <a:lnTo>
                  <a:pt x="6878775" y="0"/>
                </a:lnTo>
                <a:lnTo>
                  <a:pt x="6878775" y="6858000"/>
                </a:lnTo>
                <a:lnTo>
                  <a:pt x="713521" y="6858000"/>
                </a:lnTo>
                <a:lnTo>
                  <a:pt x="625642" y="6670527"/>
                </a:lnTo>
                <a:cubicBezTo>
                  <a:pt x="507232" y="6398531"/>
                  <a:pt x="403083" y="6118381"/>
                  <a:pt x="312785" y="5830359"/>
                </a:cubicBezTo>
                <a:cubicBezTo>
                  <a:pt x="278149" y="5719759"/>
                  <a:pt x="248879" y="5607635"/>
                  <a:pt x="212198" y="5480401"/>
                </a:cubicBezTo>
                <a:cubicBezTo>
                  <a:pt x="212208" y="5491601"/>
                  <a:pt x="212803" y="5502788"/>
                  <a:pt x="213988" y="5513923"/>
                </a:cubicBezTo>
                <a:cubicBezTo>
                  <a:pt x="264089" y="5723695"/>
                  <a:pt x="307290" y="5935370"/>
                  <a:pt x="365826" y="6142729"/>
                </a:cubicBezTo>
                <a:cubicBezTo>
                  <a:pt x="433152" y="6380817"/>
                  <a:pt x="510068" y="6614016"/>
                  <a:pt x="597975" y="6841549"/>
                </a:cubicBezTo>
                <a:lnTo>
                  <a:pt x="604824" y="6858000"/>
                </a:lnTo>
                <a:lnTo>
                  <a:pt x="552056" y="6858000"/>
                </a:lnTo>
                <a:lnTo>
                  <a:pt x="539576" y="6828295"/>
                </a:lnTo>
                <a:cubicBezTo>
                  <a:pt x="380597" y="6414594"/>
                  <a:pt x="260223" y="5988893"/>
                  <a:pt x="171555" y="5552906"/>
                </a:cubicBezTo>
                <a:cubicBezTo>
                  <a:pt x="91163" y="5157998"/>
                  <a:pt x="43746" y="4758899"/>
                  <a:pt x="12305" y="4357388"/>
                </a:cubicBezTo>
                <a:cubicBezTo>
                  <a:pt x="-14281" y="4013908"/>
                  <a:pt x="4507" y="3672965"/>
                  <a:pt x="46684" y="3331516"/>
                </a:cubicBezTo>
                <a:cubicBezTo>
                  <a:pt x="127203" y="2664286"/>
                  <a:pt x="277819" y="2007265"/>
                  <a:pt x="496065" y="1371196"/>
                </a:cubicBezTo>
                <a:cubicBezTo>
                  <a:pt x="636273" y="966066"/>
                  <a:pt x="800445" y="573253"/>
                  <a:pt x="995723" y="196614"/>
                </a:cubicBezTo>
                <a:close/>
              </a:path>
            </a:pathLst>
          </a:cu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AE196125-F657-4A8D-BF6F-9D35E2A19BAA}"/>
              </a:ext>
            </a:extLst>
          </p:cNvPr>
          <p:cNvSpPr txBox="1"/>
          <p:nvPr/>
        </p:nvSpPr>
        <p:spPr>
          <a:xfrm>
            <a:off x="838200" y="3195971"/>
            <a:ext cx="3703320" cy="29809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23" name="ZoneTexte 2">
            <a:extLst>
              <a:ext uri="{FF2B5EF4-FFF2-40B4-BE49-F238E27FC236}">
                <a16:creationId xmlns:a16="http://schemas.microsoft.com/office/drawing/2014/main" id="{61BA051E-0D20-4CC3-9958-C0CFDE297C40}"/>
              </a:ext>
            </a:extLst>
          </p:cNvPr>
          <p:cNvSpPr txBox="1"/>
          <p:nvPr/>
        </p:nvSpPr>
        <p:spPr>
          <a:xfrm>
            <a:off x="1179226" y="3092970"/>
            <a:ext cx="9833548" cy="26939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</p:txBody>
      </p:sp>
      <p:grpSp>
        <p:nvGrpSpPr>
          <p:cNvPr id="7" name="Awar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1C68EA-2299-4048-9768-29BE3CCCA72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0"/>
            <a:ext cx="344587" cy="542925"/>
            <a:chOff x="2585735" y="108789"/>
            <a:chExt cx="344587" cy="542925"/>
          </a:xfrm>
        </p:grpSpPr>
        <p:sp>
          <p:nvSpPr>
            <p:cNvPr id="8" name="Freeform: Shape 206">
              <a:extLst>
                <a:ext uri="{FF2B5EF4-FFF2-40B4-BE49-F238E27FC236}">
                  <a16:creationId xmlns:a16="http://schemas.microsoft.com/office/drawing/2014/main" id="{F1582718-4360-43D7-8A82-7C736EEF1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735" y="108789"/>
              <a:ext cx="344587" cy="344988"/>
            </a:xfrm>
            <a:custGeom>
              <a:avLst/>
              <a:gdLst>
                <a:gd name="connsiteX0" fmla="*/ 167961 w 344587"/>
                <a:gd name="connsiteY0" fmla="*/ 276672 h 344988"/>
                <a:gd name="connsiteX1" fmla="*/ 168781 w 344587"/>
                <a:gd name="connsiteY1" fmla="*/ 281441 h 344988"/>
                <a:gd name="connsiteX2" fmla="*/ 165282 w 344587"/>
                <a:gd name="connsiteY2" fmla="*/ 284827 h 344988"/>
                <a:gd name="connsiteX3" fmla="*/ 170121 w 344587"/>
                <a:gd name="connsiteY3" fmla="*/ 285532 h 344988"/>
                <a:gd name="connsiteX4" fmla="*/ 172307 w 344587"/>
                <a:gd name="connsiteY4" fmla="*/ 289894 h 344988"/>
                <a:gd name="connsiteX5" fmla="*/ 174467 w 344587"/>
                <a:gd name="connsiteY5" fmla="*/ 285532 h 344988"/>
                <a:gd name="connsiteX6" fmla="*/ 179306 w 344587"/>
                <a:gd name="connsiteY6" fmla="*/ 284827 h 344988"/>
                <a:gd name="connsiteX7" fmla="*/ 175806 w 344587"/>
                <a:gd name="connsiteY7" fmla="*/ 281441 h 344988"/>
                <a:gd name="connsiteX8" fmla="*/ 176627 w 344587"/>
                <a:gd name="connsiteY8" fmla="*/ 276672 h 344988"/>
                <a:gd name="connsiteX9" fmla="*/ 172307 w 344587"/>
                <a:gd name="connsiteY9" fmla="*/ 278921 h 344988"/>
                <a:gd name="connsiteX10" fmla="*/ 194527 w 344587"/>
                <a:gd name="connsiteY10" fmla="*/ 274468 h 344988"/>
                <a:gd name="connsiteX11" fmla="*/ 190704 w 344587"/>
                <a:gd name="connsiteY11" fmla="*/ 277391 h 344988"/>
                <a:gd name="connsiteX12" fmla="*/ 186127 w 344587"/>
                <a:gd name="connsiteY12" fmla="*/ 275943 h 344988"/>
                <a:gd name="connsiteX13" fmla="*/ 187742 w 344587"/>
                <a:gd name="connsiteY13" fmla="*/ 280475 h 344988"/>
                <a:gd name="connsiteX14" fmla="*/ 184915 w 344587"/>
                <a:gd name="connsiteY14" fmla="*/ 284363 h 344988"/>
                <a:gd name="connsiteX15" fmla="*/ 189761 w 344587"/>
                <a:gd name="connsiteY15" fmla="*/ 284229 h 344988"/>
                <a:gd name="connsiteX16" fmla="*/ 192615 w 344587"/>
                <a:gd name="connsiteY16" fmla="*/ 288091 h 344988"/>
                <a:gd name="connsiteX17" fmla="*/ 193961 w 344587"/>
                <a:gd name="connsiteY17" fmla="*/ 283479 h 344988"/>
                <a:gd name="connsiteX18" fmla="*/ 198538 w 344587"/>
                <a:gd name="connsiteY18" fmla="*/ 281977 h 344988"/>
                <a:gd name="connsiteX19" fmla="*/ 194554 w 344587"/>
                <a:gd name="connsiteY19" fmla="*/ 279268 h 344988"/>
                <a:gd name="connsiteX20" fmla="*/ 149919 w 344587"/>
                <a:gd name="connsiteY20" fmla="*/ 274468 h 344988"/>
                <a:gd name="connsiteX21" fmla="*/ 149892 w 344587"/>
                <a:gd name="connsiteY21" fmla="*/ 279268 h 344988"/>
                <a:gd name="connsiteX22" fmla="*/ 145849 w 344587"/>
                <a:gd name="connsiteY22" fmla="*/ 281977 h 344988"/>
                <a:gd name="connsiteX23" fmla="*/ 150493 w 344587"/>
                <a:gd name="connsiteY23" fmla="*/ 283479 h 344988"/>
                <a:gd name="connsiteX24" fmla="*/ 151859 w 344587"/>
                <a:gd name="connsiteY24" fmla="*/ 288091 h 344988"/>
                <a:gd name="connsiteX25" fmla="*/ 154755 w 344587"/>
                <a:gd name="connsiteY25" fmla="*/ 284229 h 344988"/>
                <a:gd name="connsiteX26" fmla="*/ 159672 w 344587"/>
                <a:gd name="connsiteY26" fmla="*/ 284363 h 344988"/>
                <a:gd name="connsiteX27" fmla="*/ 156804 w 344587"/>
                <a:gd name="connsiteY27" fmla="*/ 280475 h 344988"/>
                <a:gd name="connsiteX28" fmla="*/ 158443 w 344587"/>
                <a:gd name="connsiteY28" fmla="*/ 275943 h 344988"/>
                <a:gd name="connsiteX29" fmla="*/ 153798 w 344587"/>
                <a:gd name="connsiteY29" fmla="*/ 277391 h 344988"/>
                <a:gd name="connsiteX30" fmla="*/ 211844 w 344587"/>
                <a:gd name="connsiteY30" fmla="*/ 268858 h 344988"/>
                <a:gd name="connsiteX31" fmla="*/ 208584 w 344587"/>
                <a:gd name="connsiteY31" fmla="*/ 272467 h 344988"/>
                <a:gd name="connsiteX32" fmla="*/ 203747 w 344587"/>
                <a:gd name="connsiteY32" fmla="*/ 271811 h 344988"/>
                <a:gd name="connsiteX33" fmla="*/ 206165 w 344587"/>
                <a:gd name="connsiteY33" fmla="*/ 276075 h 344988"/>
                <a:gd name="connsiteX34" fmla="*/ 204046 w 344587"/>
                <a:gd name="connsiteY34" fmla="*/ 280504 h 344988"/>
                <a:gd name="connsiteX35" fmla="*/ 208828 w 344587"/>
                <a:gd name="connsiteY35" fmla="*/ 279492 h 344988"/>
                <a:gd name="connsiteX36" fmla="*/ 212334 w 344587"/>
                <a:gd name="connsiteY36" fmla="*/ 282882 h 344988"/>
                <a:gd name="connsiteX37" fmla="*/ 212877 w 344587"/>
                <a:gd name="connsiteY37" fmla="*/ 278016 h 344988"/>
                <a:gd name="connsiteX38" fmla="*/ 217170 w 344587"/>
                <a:gd name="connsiteY38" fmla="*/ 275693 h 344988"/>
                <a:gd name="connsiteX39" fmla="*/ 212714 w 344587"/>
                <a:gd name="connsiteY39" fmla="*/ 273670 h 344988"/>
                <a:gd name="connsiteX40" fmla="*/ 132663 w 344587"/>
                <a:gd name="connsiteY40" fmla="*/ 268858 h 344988"/>
                <a:gd name="connsiteX41" fmla="*/ 131807 w 344587"/>
                <a:gd name="connsiteY41" fmla="*/ 273670 h 344988"/>
                <a:gd name="connsiteX42" fmla="*/ 127417 w 344587"/>
                <a:gd name="connsiteY42" fmla="*/ 275693 h 344988"/>
                <a:gd name="connsiteX43" fmla="*/ 131646 w 344587"/>
                <a:gd name="connsiteY43" fmla="*/ 278016 h 344988"/>
                <a:gd name="connsiteX44" fmla="*/ 132182 w 344587"/>
                <a:gd name="connsiteY44" fmla="*/ 282882 h 344988"/>
                <a:gd name="connsiteX45" fmla="*/ 135635 w 344587"/>
                <a:gd name="connsiteY45" fmla="*/ 279492 h 344988"/>
                <a:gd name="connsiteX46" fmla="*/ 140345 w 344587"/>
                <a:gd name="connsiteY46" fmla="*/ 280504 h 344988"/>
                <a:gd name="connsiteX47" fmla="*/ 138258 w 344587"/>
                <a:gd name="connsiteY47" fmla="*/ 276075 h 344988"/>
                <a:gd name="connsiteX48" fmla="*/ 140640 w 344587"/>
                <a:gd name="connsiteY48" fmla="*/ 271811 h 344988"/>
                <a:gd name="connsiteX49" fmla="*/ 135875 w 344587"/>
                <a:gd name="connsiteY49" fmla="*/ 272467 h 344988"/>
                <a:gd name="connsiteX50" fmla="*/ 228015 w 344587"/>
                <a:gd name="connsiteY50" fmla="*/ 260644 h 344988"/>
                <a:gd name="connsiteX51" fmla="*/ 225418 w 344587"/>
                <a:gd name="connsiteY51" fmla="*/ 264769 h 344988"/>
                <a:gd name="connsiteX52" fmla="*/ 220576 w 344587"/>
                <a:gd name="connsiteY52" fmla="*/ 264959 h 344988"/>
                <a:gd name="connsiteX53" fmla="*/ 223687 w 344587"/>
                <a:gd name="connsiteY53" fmla="*/ 268704 h 344988"/>
                <a:gd name="connsiteX54" fmla="*/ 222361 w 344587"/>
                <a:gd name="connsiteY54" fmla="*/ 273372 h 344988"/>
                <a:gd name="connsiteX55" fmla="*/ 226879 w 344587"/>
                <a:gd name="connsiteY55" fmla="*/ 271581 h 344988"/>
                <a:gd name="connsiteX56" fmla="*/ 230910 w 344587"/>
                <a:gd name="connsiteY56" fmla="*/ 274268 h 344988"/>
                <a:gd name="connsiteX57" fmla="*/ 230585 w 344587"/>
                <a:gd name="connsiteY57" fmla="*/ 269410 h 344988"/>
                <a:gd name="connsiteX58" fmla="*/ 234399 w 344587"/>
                <a:gd name="connsiteY58" fmla="*/ 266398 h 344988"/>
                <a:gd name="connsiteX59" fmla="*/ 229692 w 344587"/>
                <a:gd name="connsiteY59" fmla="*/ 265204 h 344988"/>
                <a:gd name="connsiteX60" fmla="*/ 116572 w 344587"/>
                <a:gd name="connsiteY60" fmla="*/ 260644 h 344988"/>
                <a:gd name="connsiteX61" fmla="*/ 114895 w 344587"/>
                <a:gd name="connsiteY61" fmla="*/ 265204 h 344988"/>
                <a:gd name="connsiteX62" fmla="*/ 110188 w 344587"/>
                <a:gd name="connsiteY62" fmla="*/ 266398 h 344988"/>
                <a:gd name="connsiteX63" fmla="*/ 114002 w 344587"/>
                <a:gd name="connsiteY63" fmla="*/ 269410 h 344988"/>
                <a:gd name="connsiteX64" fmla="*/ 113678 w 344587"/>
                <a:gd name="connsiteY64" fmla="*/ 274268 h 344988"/>
                <a:gd name="connsiteX65" fmla="*/ 117708 w 344587"/>
                <a:gd name="connsiteY65" fmla="*/ 271581 h 344988"/>
                <a:gd name="connsiteX66" fmla="*/ 122226 w 344587"/>
                <a:gd name="connsiteY66" fmla="*/ 273372 h 344988"/>
                <a:gd name="connsiteX67" fmla="*/ 120900 w 344587"/>
                <a:gd name="connsiteY67" fmla="*/ 268704 h 344988"/>
                <a:gd name="connsiteX68" fmla="*/ 124011 w 344587"/>
                <a:gd name="connsiteY68" fmla="*/ 264959 h 344988"/>
                <a:gd name="connsiteX69" fmla="*/ 119169 w 344587"/>
                <a:gd name="connsiteY69" fmla="*/ 264769 h 344988"/>
                <a:gd name="connsiteX70" fmla="*/ 242363 w 344587"/>
                <a:gd name="connsiteY70" fmla="*/ 249625 h 344988"/>
                <a:gd name="connsiteX71" fmla="*/ 240527 w 344587"/>
                <a:gd name="connsiteY71" fmla="*/ 254100 h 344988"/>
                <a:gd name="connsiteX72" fmla="*/ 235802 w 344587"/>
                <a:gd name="connsiteY72" fmla="*/ 255124 h 344988"/>
                <a:gd name="connsiteX73" fmla="*/ 239501 w 344587"/>
                <a:gd name="connsiteY73" fmla="*/ 258251 h 344988"/>
                <a:gd name="connsiteX74" fmla="*/ 239015 w 344587"/>
                <a:gd name="connsiteY74" fmla="*/ 263048 h 344988"/>
                <a:gd name="connsiteX75" fmla="*/ 243119 w 344587"/>
                <a:gd name="connsiteY75" fmla="*/ 260515 h 344988"/>
                <a:gd name="connsiteX76" fmla="*/ 247546 w 344587"/>
                <a:gd name="connsiteY76" fmla="*/ 262455 h 344988"/>
                <a:gd name="connsiteX77" fmla="*/ 246413 w 344587"/>
                <a:gd name="connsiteY77" fmla="*/ 257766 h 344988"/>
                <a:gd name="connsiteX78" fmla="*/ 249625 w 344587"/>
                <a:gd name="connsiteY78" fmla="*/ 254154 h 344988"/>
                <a:gd name="connsiteX79" fmla="*/ 244792 w 344587"/>
                <a:gd name="connsiteY79" fmla="*/ 253776 h 344988"/>
                <a:gd name="connsiteX80" fmla="*/ 102024 w 344587"/>
                <a:gd name="connsiteY80" fmla="*/ 249625 h 344988"/>
                <a:gd name="connsiteX81" fmla="*/ 99594 w 344587"/>
                <a:gd name="connsiteY81" fmla="*/ 253776 h 344988"/>
                <a:gd name="connsiteX82" fmla="*/ 94762 w 344587"/>
                <a:gd name="connsiteY82" fmla="*/ 254154 h 344988"/>
                <a:gd name="connsiteX83" fmla="*/ 97975 w 344587"/>
                <a:gd name="connsiteY83" fmla="*/ 257766 h 344988"/>
                <a:gd name="connsiteX84" fmla="*/ 96841 w 344587"/>
                <a:gd name="connsiteY84" fmla="*/ 262455 h 344988"/>
                <a:gd name="connsiteX85" fmla="*/ 101268 w 344587"/>
                <a:gd name="connsiteY85" fmla="*/ 260515 h 344988"/>
                <a:gd name="connsiteX86" fmla="*/ 105372 w 344587"/>
                <a:gd name="connsiteY86" fmla="*/ 263048 h 344988"/>
                <a:gd name="connsiteX87" fmla="*/ 104886 w 344587"/>
                <a:gd name="connsiteY87" fmla="*/ 258251 h 344988"/>
                <a:gd name="connsiteX88" fmla="*/ 108585 w 344587"/>
                <a:gd name="connsiteY88" fmla="*/ 255124 h 344988"/>
                <a:gd name="connsiteX89" fmla="*/ 103860 w 344587"/>
                <a:gd name="connsiteY89" fmla="*/ 254100 h 344988"/>
                <a:gd name="connsiteX90" fmla="*/ 254712 w 344587"/>
                <a:gd name="connsiteY90" fmla="*/ 236203 h 344988"/>
                <a:gd name="connsiteX91" fmla="*/ 253690 w 344587"/>
                <a:gd name="connsiteY91" fmla="*/ 240928 h 344988"/>
                <a:gd name="connsiteX92" fmla="*/ 249225 w 344587"/>
                <a:gd name="connsiteY92" fmla="*/ 242764 h 344988"/>
                <a:gd name="connsiteX93" fmla="*/ 253394 w 344587"/>
                <a:gd name="connsiteY93" fmla="*/ 245220 h 344988"/>
                <a:gd name="connsiteX94" fmla="*/ 253771 w 344587"/>
                <a:gd name="connsiteY94" fmla="*/ 250026 h 344988"/>
                <a:gd name="connsiteX95" fmla="*/ 257348 w 344587"/>
                <a:gd name="connsiteY95" fmla="*/ 246813 h 344988"/>
                <a:gd name="connsiteX96" fmla="*/ 262056 w 344587"/>
                <a:gd name="connsiteY96" fmla="*/ 247974 h 344988"/>
                <a:gd name="connsiteX97" fmla="*/ 260119 w 344587"/>
                <a:gd name="connsiteY97" fmla="*/ 243520 h 344988"/>
                <a:gd name="connsiteX98" fmla="*/ 262648 w 344587"/>
                <a:gd name="connsiteY98" fmla="*/ 239416 h 344988"/>
                <a:gd name="connsiteX99" fmla="*/ 257833 w 344587"/>
                <a:gd name="connsiteY99" fmla="*/ 239902 h 344988"/>
                <a:gd name="connsiteX100" fmla="*/ 89793 w 344587"/>
                <a:gd name="connsiteY100" fmla="*/ 236203 h 344988"/>
                <a:gd name="connsiteX101" fmla="*/ 86626 w 344587"/>
                <a:gd name="connsiteY101" fmla="*/ 239902 h 344988"/>
                <a:gd name="connsiteX102" fmla="*/ 81739 w 344587"/>
                <a:gd name="connsiteY102" fmla="*/ 239416 h 344988"/>
                <a:gd name="connsiteX103" fmla="*/ 84333 w 344587"/>
                <a:gd name="connsiteY103" fmla="*/ 243520 h 344988"/>
                <a:gd name="connsiteX104" fmla="*/ 82340 w 344587"/>
                <a:gd name="connsiteY104" fmla="*/ 247974 h 344988"/>
                <a:gd name="connsiteX105" fmla="*/ 87118 w 344587"/>
                <a:gd name="connsiteY105" fmla="*/ 246813 h 344988"/>
                <a:gd name="connsiteX106" fmla="*/ 90749 w 344587"/>
                <a:gd name="connsiteY106" fmla="*/ 250026 h 344988"/>
                <a:gd name="connsiteX107" fmla="*/ 91131 w 344587"/>
                <a:gd name="connsiteY107" fmla="*/ 245220 h 344988"/>
                <a:gd name="connsiteX108" fmla="*/ 95363 w 344587"/>
                <a:gd name="connsiteY108" fmla="*/ 242764 h 344988"/>
                <a:gd name="connsiteX109" fmla="*/ 90831 w 344587"/>
                <a:gd name="connsiteY109" fmla="*/ 240928 h 344988"/>
                <a:gd name="connsiteX110" fmla="*/ 264558 w 344587"/>
                <a:gd name="connsiteY110" fmla="*/ 220977 h 344988"/>
                <a:gd name="connsiteX111" fmla="*/ 264341 w 344587"/>
                <a:gd name="connsiteY111" fmla="*/ 225819 h 344988"/>
                <a:gd name="connsiteX112" fmla="*/ 260243 w 344587"/>
                <a:gd name="connsiteY112" fmla="*/ 228416 h 344988"/>
                <a:gd name="connsiteX113" fmla="*/ 264803 w 344587"/>
                <a:gd name="connsiteY113" fmla="*/ 230093 h 344988"/>
                <a:gd name="connsiteX114" fmla="*/ 265997 w 344587"/>
                <a:gd name="connsiteY114" fmla="*/ 234800 h 344988"/>
                <a:gd name="connsiteX115" fmla="*/ 269009 w 344587"/>
                <a:gd name="connsiteY115" fmla="*/ 230986 h 344988"/>
                <a:gd name="connsiteX116" fmla="*/ 273867 w 344587"/>
                <a:gd name="connsiteY116" fmla="*/ 231311 h 344988"/>
                <a:gd name="connsiteX117" fmla="*/ 271180 w 344587"/>
                <a:gd name="connsiteY117" fmla="*/ 227280 h 344988"/>
                <a:gd name="connsiteX118" fmla="*/ 272971 w 344587"/>
                <a:gd name="connsiteY118" fmla="*/ 222762 h 344988"/>
                <a:gd name="connsiteX119" fmla="*/ 268276 w 344587"/>
                <a:gd name="connsiteY119" fmla="*/ 224088 h 344988"/>
                <a:gd name="connsiteX120" fmla="*/ 80029 w 344587"/>
                <a:gd name="connsiteY120" fmla="*/ 220977 h 344988"/>
                <a:gd name="connsiteX121" fmla="*/ 76311 w 344587"/>
                <a:gd name="connsiteY121" fmla="*/ 224088 h 344988"/>
                <a:gd name="connsiteX122" fmla="*/ 71616 w 344587"/>
                <a:gd name="connsiteY122" fmla="*/ 222762 h 344988"/>
                <a:gd name="connsiteX123" fmla="*/ 73407 w 344587"/>
                <a:gd name="connsiteY123" fmla="*/ 227280 h 344988"/>
                <a:gd name="connsiteX124" fmla="*/ 70721 w 344587"/>
                <a:gd name="connsiteY124" fmla="*/ 231311 h 344988"/>
                <a:gd name="connsiteX125" fmla="*/ 75578 w 344587"/>
                <a:gd name="connsiteY125" fmla="*/ 230986 h 344988"/>
                <a:gd name="connsiteX126" fmla="*/ 78590 w 344587"/>
                <a:gd name="connsiteY126" fmla="*/ 234800 h 344988"/>
                <a:gd name="connsiteX127" fmla="*/ 79785 w 344587"/>
                <a:gd name="connsiteY127" fmla="*/ 230093 h 344988"/>
                <a:gd name="connsiteX128" fmla="*/ 84344 w 344587"/>
                <a:gd name="connsiteY128" fmla="*/ 228416 h 344988"/>
                <a:gd name="connsiteX129" fmla="*/ 80246 w 344587"/>
                <a:gd name="connsiteY129" fmla="*/ 225819 h 344988"/>
                <a:gd name="connsiteX130" fmla="*/ 271410 w 344587"/>
                <a:gd name="connsiteY130" fmla="*/ 204148 h 344988"/>
                <a:gd name="connsiteX131" fmla="*/ 272066 w 344587"/>
                <a:gd name="connsiteY131" fmla="*/ 208985 h 344988"/>
                <a:gd name="connsiteX132" fmla="*/ 268457 w 344587"/>
                <a:gd name="connsiteY132" fmla="*/ 212245 h 344988"/>
                <a:gd name="connsiteX133" fmla="*/ 273269 w 344587"/>
                <a:gd name="connsiteY133" fmla="*/ 213115 h 344988"/>
                <a:gd name="connsiteX134" fmla="*/ 275292 w 344587"/>
                <a:gd name="connsiteY134" fmla="*/ 217571 h 344988"/>
                <a:gd name="connsiteX135" fmla="*/ 277615 w 344587"/>
                <a:gd name="connsiteY135" fmla="*/ 213278 h 344988"/>
                <a:gd name="connsiteX136" fmla="*/ 282481 w 344587"/>
                <a:gd name="connsiteY136" fmla="*/ 212734 h 344988"/>
                <a:gd name="connsiteX137" fmla="*/ 279091 w 344587"/>
                <a:gd name="connsiteY137" fmla="*/ 209229 h 344988"/>
                <a:gd name="connsiteX138" fmla="*/ 280076 w 344587"/>
                <a:gd name="connsiteY138" fmla="*/ 204447 h 344988"/>
                <a:gd name="connsiteX139" fmla="*/ 275674 w 344587"/>
                <a:gd name="connsiteY139" fmla="*/ 206566 h 344988"/>
                <a:gd name="connsiteX140" fmla="*/ 73019 w 344587"/>
                <a:gd name="connsiteY140" fmla="*/ 204148 h 344988"/>
                <a:gd name="connsiteX141" fmla="*/ 68816 w 344587"/>
                <a:gd name="connsiteY141" fmla="*/ 206566 h 344988"/>
                <a:gd name="connsiteX142" fmla="*/ 64477 w 344587"/>
                <a:gd name="connsiteY142" fmla="*/ 204447 h 344988"/>
                <a:gd name="connsiteX143" fmla="*/ 65447 w 344587"/>
                <a:gd name="connsiteY143" fmla="*/ 209229 h 344988"/>
                <a:gd name="connsiteX144" fmla="*/ 62106 w 344587"/>
                <a:gd name="connsiteY144" fmla="*/ 212734 h 344988"/>
                <a:gd name="connsiteX145" fmla="*/ 66903 w 344587"/>
                <a:gd name="connsiteY145" fmla="*/ 213278 h 344988"/>
                <a:gd name="connsiteX146" fmla="*/ 69193 w 344587"/>
                <a:gd name="connsiteY146" fmla="*/ 217571 h 344988"/>
                <a:gd name="connsiteX147" fmla="*/ 71187 w 344587"/>
                <a:gd name="connsiteY147" fmla="*/ 213115 h 344988"/>
                <a:gd name="connsiteX148" fmla="*/ 75929 w 344587"/>
                <a:gd name="connsiteY148" fmla="*/ 212245 h 344988"/>
                <a:gd name="connsiteX149" fmla="*/ 72373 w 344587"/>
                <a:gd name="connsiteY149" fmla="*/ 208985 h 344988"/>
                <a:gd name="connsiteX150" fmla="*/ 283915 w 344587"/>
                <a:gd name="connsiteY150" fmla="*/ 185116 h 344988"/>
                <a:gd name="connsiteX151" fmla="*/ 279950 w 344587"/>
                <a:gd name="connsiteY151" fmla="*/ 187963 h 344988"/>
                <a:gd name="connsiteX152" fmla="*/ 275388 w 344587"/>
                <a:gd name="connsiteY152" fmla="*/ 186320 h 344988"/>
                <a:gd name="connsiteX153" fmla="*/ 276854 w 344587"/>
                <a:gd name="connsiteY153" fmla="*/ 191001 h 344988"/>
                <a:gd name="connsiteX154" fmla="*/ 273867 w 344587"/>
                <a:gd name="connsiteY154" fmla="*/ 194861 h 344988"/>
                <a:gd name="connsiteX155" fmla="*/ 278755 w 344587"/>
                <a:gd name="connsiteY155" fmla="*/ 194888 h 344988"/>
                <a:gd name="connsiteX156" fmla="*/ 281498 w 344587"/>
                <a:gd name="connsiteY156" fmla="*/ 198939 h 344988"/>
                <a:gd name="connsiteX157" fmla="*/ 283019 w 344587"/>
                <a:gd name="connsiteY157" fmla="*/ 194286 h 344988"/>
                <a:gd name="connsiteX158" fmla="*/ 287690 w 344587"/>
                <a:gd name="connsiteY158" fmla="*/ 192917 h 344988"/>
                <a:gd name="connsiteX159" fmla="*/ 283780 w 344587"/>
                <a:gd name="connsiteY159" fmla="*/ 190015 h 344988"/>
                <a:gd name="connsiteX160" fmla="*/ 60472 w 344587"/>
                <a:gd name="connsiteY160" fmla="*/ 185116 h 344988"/>
                <a:gd name="connsiteX161" fmla="*/ 60608 w 344587"/>
                <a:gd name="connsiteY161" fmla="*/ 190015 h 344988"/>
                <a:gd name="connsiteX162" fmla="*/ 56697 w 344587"/>
                <a:gd name="connsiteY162" fmla="*/ 192917 h 344988"/>
                <a:gd name="connsiteX163" fmla="*/ 61368 w 344587"/>
                <a:gd name="connsiteY163" fmla="*/ 194286 h 344988"/>
                <a:gd name="connsiteX164" fmla="*/ 62889 w 344587"/>
                <a:gd name="connsiteY164" fmla="*/ 198939 h 344988"/>
                <a:gd name="connsiteX165" fmla="*/ 65632 w 344587"/>
                <a:gd name="connsiteY165" fmla="*/ 194888 h 344988"/>
                <a:gd name="connsiteX166" fmla="*/ 70520 w 344587"/>
                <a:gd name="connsiteY166" fmla="*/ 194861 h 344988"/>
                <a:gd name="connsiteX167" fmla="*/ 67533 w 344587"/>
                <a:gd name="connsiteY167" fmla="*/ 191001 h 344988"/>
                <a:gd name="connsiteX168" fmla="*/ 68999 w 344587"/>
                <a:gd name="connsiteY168" fmla="*/ 186320 h 344988"/>
                <a:gd name="connsiteX169" fmla="*/ 64437 w 344587"/>
                <a:gd name="connsiteY169" fmla="*/ 187963 h 344988"/>
                <a:gd name="connsiteX170" fmla="*/ 284437 w 344587"/>
                <a:gd name="connsiteY170" fmla="*/ 165482 h 344988"/>
                <a:gd name="connsiteX171" fmla="*/ 281057 w 344587"/>
                <a:gd name="connsiteY171" fmla="*/ 168981 h 344988"/>
                <a:gd name="connsiteX172" fmla="*/ 276271 w 344587"/>
                <a:gd name="connsiteY172" fmla="*/ 168161 h 344988"/>
                <a:gd name="connsiteX173" fmla="*/ 278542 w 344587"/>
                <a:gd name="connsiteY173" fmla="*/ 172508 h 344988"/>
                <a:gd name="connsiteX174" fmla="*/ 276271 w 344587"/>
                <a:gd name="connsiteY174" fmla="*/ 176827 h 344988"/>
                <a:gd name="connsiteX175" fmla="*/ 281057 w 344587"/>
                <a:gd name="connsiteY175" fmla="*/ 176007 h 344988"/>
                <a:gd name="connsiteX176" fmla="*/ 284437 w 344587"/>
                <a:gd name="connsiteY176" fmla="*/ 179506 h 344988"/>
                <a:gd name="connsiteX177" fmla="*/ 285140 w 344587"/>
                <a:gd name="connsiteY177" fmla="*/ 174667 h 344988"/>
                <a:gd name="connsiteX178" fmla="*/ 289493 w 344587"/>
                <a:gd name="connsiteY178" fmla="*/ 172508 h 344988"/>
                <a:gd name="connsiteX179" fmla="*/ 285140 w 344587"/>
                <a:gd name="connsiteY179" fmla="*/ 170321 h 344988"/>
                <a:gd name="connsiteX180" fmla="*/ 60027 w 344587"/>
                <a:gd name="connsiteY180" fmla="*/ 165482 h 344988"/>
                <a:gd name="connsiteX181" fmla="*/ 59313 w 344587"/>
                <a:gd name="connsiteY181" fmla="*/ 170321 h 344988"/>
                <a:gd name="connsiteX182" fmla="*/ 54894 w 344587"/>
                <a:gd name="connsiteY182" fmla="*/ 172508 h 344988"/>
                <a:gd name="connsiteX183" fmla="*/ 59313 w 344587"/>
                <a:gd name="connsiteY183" fmla="*/ 174667 h 344988"/>
                <a:gd name="connsiteX184" fmla="*/ 60027 w 344587"/>
                <a:gd name="connsiteY184" fmla="*/ 179506 h 344988"/>
                <a:gd name="connsiteX185" fmla="*/ 63458 w 344587"/>
                <a:gd name="connsiteY185" fmla="*/ 176007 h 344988"/>
                <a:gd name="connsiteX186" fmla="*/ 68317 w 344587"/>
                <a:gd name="connsiteY186" fmla="*/ 176827 h 344988"/>
                <a:gd name="connsiteX187" fmla="*/ 66011 w 344587"/>
                <a:gd name="connsiteY187" fmla="*/ 172508 h 344988"/>
                <a:gd name="connsiteX188" fmla="*/ 68317 w 344587"/>
                <a:gd name="connsiteY188" fmla="*/ 168161 h 344988"/>
                <a:gd name="connsiteX189" fmla="*/ 63458 w 344587"/>
                <a:gd name="connsiteY189" fmla="*/ 168981 h 344988"/>
                <a:gd name="connsiteX190" fmla="*/ 281498 w 344587"/>
                <a:gd name="connsiteY190" fmla="*/ 146049 h 344988"/>
                <a:gd name="connsiteX191" fmla="*/ 278755 w 344587"/>
                <a:gd name="connsiteY191" fmla="*/ 150092 h 344988"/>
                <a:gd name="connsiteX192" fmla="*/ 273867 w 344587"/>
                <a:gd name="connsiteY192" fmla="*/ 150120 h 344988"/>
                <a:gd name="connsiteX193" fmla="*/ 276854 w 344587"/>
                <a:gd name="connsiteY193" fmla="*/ 153999 h 344988"/>
                <a:gd name="connsiteX194" fmla="*/ 275388 w 344587"/>
                <a:gd name="connsiteY194" fmla="*/ 158670 h 344988"/>
                <a:gd name="connsiteX195" fmla="*/ 279950 w 344587"/>
                <a:gd name="connsiteY195" fmla="*/ 157004 h 344988"/>
                <a:gd name="connsiteX196" fmla="*/ 283915 w 344587"/>
                <a:gd name="connsiteY196" fmla="*/ 159872 h 344988"/>
                <a:gd name="connsiteX197" fmla="*/ 283780 w 344587"/>
                <a:gd name="connsiteY197" fmla="*/ 154955 h 344988"/>
                <a:gd name="connsiteX198" fmla="*/ 287690 w 344587"/>
                <a:gd name="connsiteY198" fmla="*/ 152059 h 344988"/>
                <a:gd name="connsiteX199" fmla="*/ 283019 w 344587"/>
                <a:gd name="connsiteY199" fmla="*/ 150693 h 344988"/>
                <a:gd name="connsiteX200" fmla="*/ 62889 w 344587"/>
                <a:gd name="connsiteY200" fmla="*/ 146049 h 344988"/>
                <a:gd name="connsiteX201" fmla="*/ 61368 w 344587"/>
                <a:gd name="connsiteY201" fmla="*/ 150693 h 344988"/>
                <a:gd name="connsiteX202" fmla="*/ 56697 w 344587"/>
                <a:gd name="connsiteY202" fmla="*/ 152059 h 344988"/>
                <a:gd name="connsiteX203" fmla="*/ 60608 w 344587"/>
                <a:gd name="connsiteY203" fmla="*/ 154955 h 344988"/>
                <a:gd name="connsiteX204" fmla="*/ 60472 w 344587"/>
                <a:gd name="connsiteY204" fmla="*/ 159872 h 344988"/>
                <a:gd name="connsiteX205" fmla="*/ 64437 w 344587"/>
                <a:gd name="connsiteY205" fmla="*/ 157004 h 344988"/>
                <a:gd name="connsiteX206" fmla="*/ 68999 w 344587"/>
                <a:gd name="connsiteY206" fmla="*/ 158670 h 344988"/>
                <a:gd name="connsiteX207" fmla="*/ 67533 w 344587"/>
                <a:gd name="connsiteY207" fmla="*/ 153999 h 344988"/>
                <a:gd name="connsiteX208" fmla="*/ 70520 w 344587"/>
                <a:gd name="connsiteY208" fmla="*/ 150120 h 344988"/>
                <a:gd name="connsiteX209" fmla="*/ 65632 w 344587"/>
                <a:gd name="connsiteY209" fmla="*/ 150092 h 344988"/>
                <a:gd name="connsiteX210" fmla="*/ 275292 w 344587"/>
                <a:gd name="connsiteY210" fmla="*/ 127618 h 344988"/>
                <a:gd name="connsiteX211" fmla="*/ 273269 w 344587"/>
                <a:gd name="connsiteY211" fmla="*/ 132007 h 344988"/>
                <a:gd name="connsiteX212" fmla="*/ 268457 w 344587"/>
                <a:gd name="connsiteY212" fmla="*/ 132864 h 344988"/>
                <a:gd name="connsiteX213" fmla="*/ 272066 w 344587"/>
                <a:gd name="connsiteY213" fmla="*/ 136103 h 344988"/>
                <a:gd name="connsiteX214" fmla="*/ 271410 w 344587"/>
                <a:gd name="connsiteY214" fmla="*/ 140840 h 344988"/>
                <a:gd name="connsiteX215" fmla="*/ 275674 w 344587"/>
                <a:gd name="connsiteY215" fmla="*/ 138458 h 344988"/>
                <a:gd name="connsiteX216" fmla="*/ 280076 w 344587"/>
                <a:gd name="connsiteY216" fmla="*/ 140546 h 344988"/>
                <a:gd name="connsiteX217" fmla="*/ 279091 w 344587"/>
                <a:gd name="connsiteY217" fmla="*/ 135862 h 344988"/>
                <a:gd name="connsiteX218" fmla="*/ 282481 w 344587"/>
                <a:gd name="connsiteY218" fmla="*/ 132382 h 344988"/>
                <a:gd name="connsiteX219" fmla="*/ 277615 w 344587"/>
                <a:gd name="connsiteY219" fmla="*/ 131847 h 344988"/>
                <a:gd name="connsiteX220" fmla="*/ 69193 w 344587"/>
                <a:gd name="connsiteY220" fmla="*/ 127618 h 344988"/>
                <a:gd name="connsiteX221" fmla="*/ 66903 w 344587"/>
                <a:gd name="connsiteY221" fmla="*/ 131847 h 344988"/>
                <a:gd name="connsiteX222" fmla="*/ 62106 w 344587"/>
                <a:gd name="connsiteY222" fmla="*/ 132382 h 344988"/>
                <a:gd name="connsiteX223" fmla="*/ 65447 w 344587"/>
                <a:gd name="connsiteY223" fmla="*/ 135862 h 344988"/>
                <a:gd name="connsiteX224" fmla="*/ 64477 w 344587"/>
                <a:gd name="connsiteY224" fmla="*/ 140546 h 344988"/>
                <a:gd name="connsiteX225" fmla="*/ 68816 w 344587"/>
                <a:gd name="connsiteY225" fmla="*/ 138458 h 344988"/>
                <a:gd name="connsiteX226" fmla="*/ 73019 w 344587"/>
                <a:gd name="connsiteY226" fmla="*/ 140840 h 344988"/>
                <a:gd name="connsiteX227" fmla="*/ 72373 w 344587"/>
                <a:gd name="connsiteY227" fmla="*/ 136103 h 344988"/>
                <a:gd name="connsiteX228" fmla="*/ 75929 w 344587"/>
                <a:gd name="connsiteY228" fmla="*/ 132864 h 344988"/>
                <a:gd name="connsiteX229" fmla="*/ 71187 w 344587"/>
                <a:gd name="connsiteY229" fmla="*/ 132007 h 344988"/>
                <a:gd name="connsiteX230" fmla="*/ 265997 w 344587"/>
                <a:gd name="connsiteY230" fmla="*/ 110188 h 344988"/>
                <a:gd name="connsiteX231" fmla="*/ 264803 w 344587"/>
                <a:gd name="connsiteY231" fmla="*/ 114963 h 344988"/>
                <a:gd name="connsiteX232" fmla="*/ 260243 w 344587"/>
                <a:gd name="connsiteY232" fmla="*/ 116665 h 344988"/>
                <a:gd name="connsiteX233" fmla="*/ 264341 w 344587"/>
                <a:gd name="connsiteY233" fmla="*/ 119299 h 344988"/>
                <a:gd name="connsiteX234" fmla="*/ 264558 w 344587"/>
                <a:gd name="connsiteY234" fmla="*/ 124212 h 344988"/>
                <a:gd name="connsiteX235" fmla="*/ 268276 w 344587"/>
                <a:gd name="connsiteY235" fmla="*/ 121083 h 344988"/>
                <a:gd name="connsiteX236" fmla="*/ 272971 w 344587"/>
                <a:gd name="connsiteY236" fmla="*/ 122401 h 344988"/>
                <a:gd name="connsiteX237" fmla="*/ 271180 w 344587"/>
                <a:gd name="connsiteY237" fmla="*/ 117845 h 344988"/>
                <a:gd name="connsiteX238" fmla="*/ 273867 w 344587"/>
                <a:gd name="connsiteY238" fmla="*/ 113756 h 344988"/>
                <a:gd name="connsiteX239" fmla="*/ 269009 w 344587"/>
                <a:gd name="connsiteY239" fmla="*/ 114057 h 344988"/>
                <a:gd name="connsiteX240" fmla="*/ 78590 w 344587"/>
                <a:gd name="connsiteY240" fmla="*/ 110188 h 344988"/>
                <a:gd name="connsiteX241" fmla="*/ 75578 w 344587"/>
                <a:gd name="connsiteY241" fmla="*/ 114057 h 344988"/>
                <a:gd name="connsiteX242" fmla="*/ 70721 w 344587"/>
                <a:gd name="connsiteY242" fmla="*/ 113756 h 344988"/>
                <a:gd name="connsiteX243" fmla="*/ 73407 w 344587"/>
                <a:gd name="connsiteY243" fmla="*/ 117845 h 344988"/>
                <a:gd name="connsiteX244" fmla="*/ 71616 w 344587"/>
                <a:gd name="connsiteY244" fmla="*/ 122401 h 344988"/>
                <a:gd name="connsiteX245" fmla="*/ 76311 w 344587"/>
                <a:gd name="connsiteY245" fmla="*/ 121083 h 344988"/>
                <a:gd name="connsiteX246" fmla="*/ 80029 w 344587"/>
                <a:gd name="connsiteY246" fmla="*/ 124212 h 344988"/>
                <a:gd name="connsiteX247" fmla="*/ 80246 w 344587"/>
                <a:gd name="connsiteY247" fmla="*/ 119299 h 344988"/>
                <a:gd name="connsiteX248" fmla="*/ 84344 w 344587"/>
                <a:gd name="connsiteY248" fmla="*/ 116665 h 344988"/>
                <a:gd name="connsiteX249" fmla="*/ 79785 w 344587"/>
                <a:gd name="connsiteY249" fmla="*/ 114963 h 344988"/>
                <a:gd name="connsiteX250" fmla="*/ 172293 w 344587"/>
                <a:gd name="connsiteY250" fmla="*/ 107507 h 344988"/>
                <a:gd name="connsiteX251" fmla="*/ 164742 w 344587"/>
                <a:gd name="connsiteY251" fmla="*/ 112163 h 344988"/>
                <a:gd name="connsiteX252" fmla="*/ 148477 w 344587"/>
                <a:gd name="connsiteY252" fmla="*/ 145335 h 344988"/>
                <a:gd name="connsiteX253" fmla="*/ 111881 w 344587"/>
                <a:gd name="connsiteY253" fmla="*/ 150766 h 344988"/>
                <a:gd name="connsiteX254" fmla="*/ 104910 w 344587"/>
                <a:gd name="connsiteY254" fmla="*/ 156392 h 344988"/>
                <a:gd name="connsiteX255" fmla="*/ 107234 w 344587"/>
                <a:gd name="connsiteY255" fmla="*/ 165121 h 344988"/>
                <a:gd name="connsiteX256" fmla="*/ 133567 w 344587"/>
                <a:gd name="connsiteY256" fmla="*/ 190922 h 344988"/>
                <a:gd name="connsiteX257" fmla="*/ 127371 w 344587"/>
                <a:gd name="connsiteY257" fmla="*/ 227392 h 344988"/>
                <a:gd name="connsiteX258" fmla="*/ 130663 w 344587"/>
                <a:gd name="connsiteY258" fmla="*/ 235733 h 344988"/>
                <a:gd name="connsiteX259" fmla="*/ 135697 w 344587"/>
                <a:gd name="connsiteY259" fmla="*/ 237479 h 344988"/>
                <a:gd name="connsiteX260" fmla="*/ 139570 w 344587"/>
                <a:gd name="connsiteY260" fmla="*/ 236509 h 344988"/>
                <a:gd name="connsiteX261" fmla="*/ 172293 w 344587"/>
                <a:gd name="connsiteY261" fmla="*/ 219244 h 344988"/>
                <a:gd name="connsiteX262" fmla="*/ 205016 w 344587"/>
                <a:gd name="connsiteY262" fmla="*/ 236509 h 344988"/>
                <a:gd name="connsiteX263" fmla="*/ 209083 w 344587"/>
                <a:gd name="connsiteY263" fmla="*/ 237479 h 344988"/>
                <a:gd name="connsiteX264" fmla="*/ 213923 w 344587"/>
                <a:gd name="connsiteY264" fmla="*/ 235733 h 344988"/>
                <a:gd name="connsiteX265" fmla="*/ 217409 w 344587"/>
                <a:gd name="connsiteY265" fmla="*/ 227392 h 344988"/>
                <a:gd name="connsiteX266" fmla="*/ 211213 w 344587"/>
                <a:gd name="connsiteY266" fmla="*/ 190922 h 344988"/>
                <a:gd name="connsiteX267" fmla="*/ 237546 w 344587"/>
                <a:gd name="connsiteY267" fmla="*/ 165121 h 344988"/>
                <a:gd name="connsiteX268" fmla="*/ 239676 w 344587"/>
                <a:gd name="connsiteY268" fmla="*/ 156392 h 344988"/>
                <a:gd name="connsiteX269" fmla="*/ 232899 w 344587"/>
                <a:gd name="connsiteY269" fmla="*/ 150766 h 344988"/>
                <a:gd name="connsiteX270" fmla="*/ 196303 w 344587"/>
                <a:gd name="connsiteY270" fmla="*/ 145335 h 344988"/>
                <a:gd name="connsiteX271" fmla="*/ 180038 w 344587"/>
                <a:gd name="connsiteY271" fmla="*/ 112163 h 344988"/>
                <a:gd name="connsiteX272" fmla="*/ 172293 w 344587"/>
                <a:gd name="connsiteY272" fmla="*/ 107507 h 344988"/>
                <a:gd name="connsiteX273" fmla="*/ 253771 w 344587"/>
                <a:gd name="connsiteY273" fmla="*/ 94962 h 344988"/>
                <a:gd name="connsiteX274" fmla="*/ 253394 w 344587"/>
                <a:gd name="connsiteY274" fmla="*/ 99795 h 344988"/>
                <a:gd name="connsiteX275" fmla="*/ 249225 w 344587"/>
                <a:gd name="connsiteY275" fmla="*/ 102225 h 344988"/>
                <a:gd name="connsiteX276" fmla="*/ 253690 w 344587"/>
                <a:gd name="connsiteY276" fmla="*/ 104061 h 344988"/>
                <a:gd name="connsiteX277" fmla="*/ 254712 w 344587"/>
                <a:gd name="connsiteY277" fmla="*/ 108785 h 344988"/>
                <a:gd name="connsiteX278" fmla="*/ 257833 w 344587"/>
                <a:gd name="connsiteY278" fmla="*/ 105114 h 344988"/>
                <a:gd name="connsiteX279" fmla="*/ 262648 w 344587"/>
                <a:gd name="connsiteY279" fmla="*/ 105573 h 344988"/>
                <a:gd name="connsiteX280" fmla="*/ 260119 w 344587"/>
                <a:gd name="connsiteY280" fmla="*/ 101469 h 344988"/>
                <a:gd name="connsiteX281" fmla="*/ 262056 w 344587"/>
                <a:gd name="connsiteY281" fmla="*/ 97041 h 344988"/>
                <a:gd name="connsiteX282" fmla="*/ 257348 w 344587"/>
                <a:gd name="connsiteY282" fmla="*/ 98175 h 344988"/>
                <a:gd name="connsiteX283" fmla="*/ 90749 w 344587"/>
                <a:gd name="connsiteY283" fmla="*/ 94962 h 344988"/>
                <a:gd name="connsiteX284" fmla="*/ 87118 w 344587"/>
                <a:gd name="connsiteY284" fmla="*/ 98175 h 344988"/>
                <a:gd name="connsiteX285" fmla="*/ 82340 w 344587"/>
                <a:gd name="connsiteY285" fmla="*/ 97041 h 344988"/>
                <a:gd name="connsiteX286" fmla="*/ 84333 w 344587"/>
                <a:gd name="connsiteY286" fmla="*/ 101469 h 344988"/>
                <a:gd name="connsiteX287" fmla="*/ 81739 w 344587"/>
                <a:gd name="connsiteY287" fmla="*/ 105573 h 344988"/>
                <a:gd name="connsiteX288" fmla="*/ 86626 w 344587"/>
                <a:gd name="connsiteY288" fmla="*/ 105114 h 344988"/>
                <a:gd name="connsiteX289" fmla="*/ 89793 w 344587"/>
                <a:gd name="connsiteY289" fmla="*/ 108785 h 344988"/>
                <a:gd name="connsiteX290" fmla="*/ 90831 w 344587"/>
                <a:gd name="connsiteY290" fmla="*/ 104061 h 344988"/>
                <a:gd name="connsiteX291" fmla="*/ 95363 w 344587"/>
                <a:gd name="connsiteY291" fmla="*/ 102225 h 344988"/>
                <a:gd name="connsiteX292" fmla="*/ 91131 w 344587"/>
                <a:gd name="connsiteY292" fmla="*/ 99795 h 344988"/>
                <a:gd name="connsiteX293" fmla="*/ 239015 w 344587"/>
                <a:gd name="connsiteY293" fmla="*/ 81940 h 344988"/>
                <a:gd name="connsiteX294" fmla="*/ 239501 w 344587"/>
                <a:gd name="connsiteY294" fmla="*/ 86827 h 344988"/>
                <a:gd name="connsiteX295" fmla="*/ 235802 w 344587"/>
                <a:gd name="connsiteY295" fmla="*/ 89993 h 344988"/>
                <a:gd name="connsiteX296" fmla="*/ 240527 w 344587"/>
                <a:gd name="connsiteY296" fmla="*/ 91031 h 344988"/>
                <a:gd name="connsiteX297" fmla="*/ 242363 w 344587"/>
                <a:gd name="connsiteY297" fmla="*/ 95563 h 344988"/>
                <a:gd name="connsiteX298" fmla="*/ 244792 w 344587"/>
                <a:gd name="connsiteY298" fmla="*/ 91331 h 344988"/>
                <a:gd name="connsiteX299" fmla="*/ 249625 w 344587"/>
                <a:gd name="connsiteY299" fmla="*/ 90976 h 344988"/>
                <a:gd name="connsiteX300" fmla="*/ 246413 w 344587"/>
                <a:gd name="connsiteY300" fmla="*/ 87318 h 344988"/>
                <a:gd name="connsiteX301" fmla="*/ 247546 w 344587"/>
                <a:gd name="connsiteY301" fmla="*/ 82568 h 344988"/>
                <a:gd name="connsiteX302" fmla="*/ 243119 w 344587"/>
                <a:gd name="connsiteY302" fmla="*/ 84533 h 344988"/>
                <a:gd name="connsiteX303" fmla="*/ 105372 w 344587"/>
                <a:gd name="connsiteY303" fmla="*/ 81940 h 344988"/>
                <a:gd name="connsiteX304" fmla="*/ 101268 w 344587"/>
                <a:gd name="connsiteY304" fmla="*/ 84533 h 344988"/>
                <a:gd name="connsiteX305" fmla="*/ 96841 w 344587"/>
                <a:gd name="connsiteY305" fmla="*/ 82568 h 344988"/>
                <a:gd name="connsiteX306" fmla="*/ 97975 w 344587"/>
                <a:gd name="connsiteY306" fmla="*/ 87318 h 344988"/>
                <a:gd name="connsiteX307" fmla="*/ 94762 w 344587"/>
                <a:gd name="connsiteY307" fmla="*/ 90976 h 344988"/>
                <a:gd name="connsiteX308" fmla="*/ 99594 w 344587"/>
                <a:gd name="connsiteY308" fmla="*/ 91331 h 344988"/>
                <a:gd name="connsiteX309" fmla="*/ 102024 w 344587"/>
                <a:gd name="connsiteY309" fmla="*/ 95563 h 344988"/>
                <a:gd name="connsiteX310" fmla="*/ 103860 w 344587"/>
                <a:gd name="connsiteY310" fmla="*/ 91031 h 344988"/>
                <a:gd name="connsiteX311" fmla="*/ 108585 w 344587"/>
                <a:gd name="connsiteY311" fmla="*/ 89993 h 344988"/>
                <a:gd name="connsiteX312" fmla="*/ 104886 w 344587"/>
                <a:gd name="connsiteY312" fmla="*/ 86827 h 344988"/>
                <a:gd name="connsiteX313" fmla="*/ 230910 w 344587"/>
                <a:gd name="connsiteY313" fmla="*/ 70720 h 344988"/>
                <a:gd name="connsiteX314" fmla="*/ 226879 w 344587"/>
                <a:gd name="connsiteY314" fmla="*/ 73474 h 344988"/>
                <a:gd name="connsiteX315" fmla="*/ 222361 w 344587"/>
                <a:gd name="connsiteY315" fmla="*/ 71629 h 344988"/>
                <a:gd name="connsiteX316" fmla="*/ 223687 w 344587"/>
                <a:gd name="connsiteY316" fmla="*/ 76393 h 344988"/>
                <a:gd name="connsiteX317" fmla="*/ 220576 w 344587"/>
                <a:gd name="connsiteY317" fmla="*/ 80193 h 344988"/>
                <a:gd name="connsiteX318" fmla="*/ 225418 w 344587"/>
                <a:gd name="connsiteY318" fmla="*/ 80386 h 344988"/>
                <a:gd name="connsiteX319" fmla="*/ 228015 w 344587"/>
                <a:gd name="connsiteY319" fmla="*/ 84544 h 344988"/>
                <a:gd name="connsiteX320" fmla="*/ 229692 w 344587"/>
                <a:gd name="connsiteY320" fmla="*/ 79918 h 344988"/>
                <a:gd name="connsiteX321" fmla="*/ 234399 w 344587"/>
                <a:gd name="connsiteY321" fmla="*/ 78706 h 344988"/>
                <a:gd name="connsiteX322" fmla="*/ 230585 w 344587"/>
                <a:gd name="connsiteY322" fmla="*/ 75650 h 344988"/>
                <a:gd name="connsiteX323" fmla="*/ 113678 w 344587"/>
                <a:gd name="connsiteY323" fmla="*/ 70720 h 344988"/>
                <a:gd name="connsiteX324" fmla="*/ 114002 w 344587"/>
                <a:gd name="connsiteY324" fmla="*/ 75650 h 344988"/>
                <a:gd name="connsiteX325" fmla="*/ 110188 w 344587"/>
                <a:gd name="connsiteY325" fmla="*/ 78706 h 344988"/>
                <a:gd name="connsiteX326" fmla="*/ 114895 w 344587"/>
                <a:gd name="connsiteY326" fmla="*/ 79918 h 344988"/>
                <a:gd name="connsiteX327" fmla="*/ 116572 w 344587"/>
                <a:gd name="connsiteY327" fmla="*/ 84544 h 344988"/>
                <a:gd name="connsiteX328" fmla="*/ 119169 w 344587"/>
                <a:gd name="connsiteY328" fmla="*/ 80386 h 344988"/>
                <a:gd name="connsiteX329" fmla="*/ 124011 w 344587"/>
                <a:gd name="connsiteY329" fmla="*/ 80193 h 344988"/>
                <a:gd name="connsiteX330" fmla="*/ 120900 w 344587"/>
                <a:gd name="connsiteY330" fmla="*/ 76393 h 344988"/>
                <a:gd name="connsiteX331" fmla="*/ 122226 w 344587"/>
                <a:gd name="connsiteY331" fmla="*/ 71629 h 344988"/>
                <a:gd name="connsiteX332" fmla="*/ 117708 w 344587"/>
                <a:gd name="connsiteY332" fmla="*/ 73474 h 344988"/>
                <a:gd name="connsiteX333" fmla="*/ 212334 w 344587"/>
                <a:gd name="connsiteY333" fmla="*/ 62106 h 344988"/>
                <a:gd name="connsiteX334" fmla="*/ 208828 w 344587"/>
                <a:gd name="connsiteY334" fmla="*/ 65489 h 344988"/>
                <a:gd name="connsiteX335" fmla="*/ 204046 w 344587"/>
                <a:gd name="connsiteY335" fmla="*/ 64507 h 344988"/>
                <a:gd name="connsiteX336" fmla="*/ 206165 w 344587"/>
                <a:gd name="connsiteY336" fmla="*/ 68900 h 344988"/>
                <a:gd name="connsiteX337" fmla="*/ 203747 w 344587"/>
                <a:gd name="connsiteY337" fmla="*/ 73156 h 344988"/>
                <a:gd name="connsiteX338" fmla="*/ 208584 w 344587"/>
                <a:gd name="connsiteY338" fmla="*/ 72501 h 344988"/>
                <a:gd name="connsiteX339" fmla="*/ 211844 w 344587"/>
                <a:gd name="connsiteY339" fmla="*/ 76130 h 344988"/>
                <a:gd name="connsiteX340" fmla="*/ 212714 w 344587"/>
                <a:gd name="connsiteY340" fmla="*/ 71301 h 344988"/>
                <a:gd name="connsiteX341" fmla="*/ 217170 w 344587"/>
                <a:gd name="connsiteY341" fmla="*/ 69282 h 344988"/>
                <a:gd name="connsiteX342" fmla="*/ 212877 w 344587"/>
                <a:gd name="connsiteY342" fmla="*/ 66962 h 344988"/>
                <a:gd name="connsiteX343" fmla="*/ 132182 w 344587"/>
                <a:gd name="connsiteY343" fmla="*/ 62106 h 344988"/>
                <a:gd name="connsiteX344" fmla="*/ 131646 w 344587"/>
                <a:gd name="connsiteY344" fmla="*/ 66962 h 344988"/>
                <a:gd name="connsiteX345" fmla="*/ 127417 w 344587"/>
                <a:gd name="connsiteY345" fmla="*/ 69282 h 344988"/>
                <a:gd name="connsiteX346" fmla="*/ 131807 w 344587"/>
                <a:gd name="connsiteY346" fmla="*/ 71301 h 344988"/>
                <a:gd name="connsiteX347" fmla="*/ 132663 w 344587"/>
                <a:gd name="connsiteY347" fmla="*/ 76130 h 344988"/>
                <a:gd name="connsiteX348" fmla="*/ 135875 w 344587"/>
                <a:gd name="connsiteY348" fmla="*/ 72501 h 344988"/>
                <a:gd name="connsiteX349" fmla="*/ 140640 w 344587"/>
                <a:gd name="connsiteY349" fmla="*/ 73156 h 344988"/>
                <a:gd name="connsiteX350" fmla="*/ 138258 w 344587"/>
                <a:gd name="connsiteY350" fmla="*/ 68900 h 344988"/>
                <a:gd name="connsiteX351" fmla="*/ 140345 w 344587"/>
                <a:gd name="connsiteY351" fmla="*/ 64507 h 344988"/>
                <a:gd name="connsiteX352" fmla="*/ 135635 w 344587"/>
                <a:gd name="connsiteY352" fmla="*/ 65489 h 344988"/>
                <a:gd name="connsiteX353" fmla="*/ 192615 w 344587"/>
                <a:gd name="connsiteY353" fmla="*/ 56897 h 344988"/>
                <a:gd name="connsiteX354" fmla="*/ 189761 w 344587"/>
                <a:gd name="connsiteY354" fmla="*/ 60835 h 344988"/>
                <a:gd name="connsiteX355" fmla="*/ 184915 w 344587"/>
                <a:gd name="connsiteY355" fmla="*/ 60672 h 344988"/>
                <a:gd name="connsiteX356" fmla="*/ 187742 w 344587"/>
                <a:gd name="connsiteY356" fmla="*/ 64637 h 344988"/>
                <a:gd name="connsiteX357" fmla="*/ 186127 w 344587"/>
                <a:gd name="connsiteY357" fmla="*/ 69227 h 344988"/>
                <a:gd name="connsiteX358" fmla="*/ 190704 w 344587"/>
                <a:gd name="connsiteY358" fmla="*/ 67733 h 344988"/>
                <a:gd name="connsiteX359" fmla="*/ 194527 w 344587"/>
                <a:gd name="connsiteY359" fmla="*/ 70720 h 344988"/>
                <a:gd name="connsiteX360" fmla="*/ 194554 w 344587"/>
                <a:gd name="connsiteY360" fmla="*/ 65832 h 344988"/>
                <a:gd name="connsiteX361" fmla="*/ 198538 w 344587"/>
                <a:gd name="connsiteY361" fmla="*/ 63089 h 344988"/>
                <a:gd name="connsiteX362" fmla="*/ 193961 w 344587"/>
                <a:gd name="connsiteY362" fmla="*/ 61568 h 344988"/>
                <a:gd name="connsiteX363" fmla="*/ 151859 w 344587"/>
                <a:gd name="connsiteY363" fmla="*/ 56897 h 344988"/>
                <a:gd name="connsiteX364" fmla="*/ 150493 w 344587"/>
                <a:gd name="connsiteY364" fmla="*/ 61568 h 344988"/>
                <a:gd name="connsiteX365" fmla="*/ 145849 w 344587"/>
                <a:gd name="connsiteY365" fmla="*/ 63089 h 344988"/>
                <a:gd name="connsiteX366" fmla="*/ 149892 w 344587"/>
                <a:gd name="connsiteY366" fmla="*/ 65832 h 344988"/>
                <a:gd name="connsiteX367" fmla="*/ 149919 w 344587"/>
                <a:gd name="connsiteY367" fmla="*/ 70720 h 344988"/>
                <a:gd name="connsiteX368" fmla="*/ 153798 w 344587"/>
                <a:gd name="connsiteY368" fmla="*/ 67733 h 344988"/>
                <a:gd name="connsiteX369" fmla="*/ 158443 w 344587"/>
                <a:gd name="connsiteY369" fmla="*/ 69227 h 344988"/>
                <a:gd name="connsiteX370" fmla="*/ 156804 w 344587"/>
                <a:gd name="connsiteY370" fmla="*/ 64637 h 344988"/>
                <a:gd name="connsiteX371" fmla="*/ 159672 w 344587"/>
                <a:gd name="connsiteY371" fmla="*/ 60672 h 344988"/>
                <a:gd name="connsiteX372" fmla="*/ 154755 w 344587"/>
                <a:gd name="connsiteY372" fmla="*/ 60835 h 344988"/>
                <a:gd name="connsiteX373" fmla="*/ 172307 w 344587"/>
                <a:gd name="connsiteY373" fmla="*/ 55094 h 344988"/>
                <a:gd name="connsiteX374" fmla="*/ 170121 w 344587"/>
                <a:gd name="connsiteY374" fmla="*/ 59447 h 344988"/>
                <a:gd name="connsiteX375" fmla="*/ 165282 w 344587"/>
                <a:gd name="connsiteY375" fmla="*/ 60150 h 344988"/>
                <a:gd name="connsiteX376" fmla="*/ 168781 w 344587"/>
                <a:gd name="connsiteY376" fmla="*/ 63530 h 344988"/>
                <a:gd name="connsiteX377" fmla="*/ 167961 w 344587"/>
                <a:gd name="connsiteY377" fmla="*/ 68316 h 344988"/>
                <a:gd name="connsiteX378" fmla="*/ 172307 w 344587"/>
                <a:gd name="connsiteY378" fmla="*/ 66045 h 344988"/>
                <a:gd name="connsiteX379" fmla="*/ 176627 w 344587"/>
                <a:gd name="connsiteY379" fmla="*/ 68316 h 344988"/>
                <a:gd name="connsiteX380" fmla="*/ 175806 w 344587"/>
                <a:gd name="connsiteY380" fmla="*/ 63530 h 344988"/>
                <a:gd name="connsiteX381" fmla="*/ 179306 w 344587"/>
                <a:gd name="connsiteY381" fmla="*/ 60150 h 344988"/>
                <a:gd name="connsiteX382" fmla="*/ 174467 w 344587"/>
                <a:gd name="connsiteY382" fmla="*/ 59447 h 344988"/>
                <a:gd name="connsiteX383" fmla="*/ 171615 w 344587"/>
                <a:gd name="connsiteY383" fmla="*/ 48293 h 344988"/>
                <a:gd name="connsiteX384" fmla="*/ 293719 w 344587"/>
                <a:gd name="connsiteY384" fmla="*/ 170398 h 344988"/>
                <a:gd name="connsiteX385" fmla="*/ 171615 w 344587"/>
                <a:gd name="connsiteY385" fmla="*/ 292503 h 344988"/>
                <a:gd name="connsiteX386" fmla="*/ 49510 w 344587"/>
                <a:gd name="connsiteY386" fmla="*/ 170398 h 344988"/>
                <a:gd name="connsiteX387" fmla="*/ 171615 w 344587"/>
                <a:gd name="connsiteY387" fmla="*/ 48293 h 344988"/>
                <a:gd name="connsiteX388" fmla="*/ 171615 w 344587"/>
                <a:gd name="connsiteY388" fmla="*/ 34348 h 344988"/>
                <a:gd name="connsiteX389" fmla="*/ 35565 w 344587"/>
                <a:gd name="connsiteY389" fmla="*/ 170398 h 344988"/>
                <a:gd name="connsiteX390" fmla="*/ 171615 w 344587"/>
                <a:gd name="connsiteY390" fmla="*/ 306448 h 344988"/>
                <a:gd name="connsiteX391" fmla="*/ 307665 w 344587"/>
                <a:gd name="connsiteY391" fmla="*/ 170398 h 344988"/>
                <a:gd name="connsiteX392" fmla="*/ 171615 w 344587"/>
                <a:gd name="connsiteY392" fmla="*/ 34348 h 344988"/>
                <a:gd name="connsiteX393" fmla="*/ 172307 w 344587"/>
                <a:gd name="connsiteY393" fmla="*/ 0 h 344988"/>
                <a:gd name="connsiteX394" fmla="*/ 212700 w 344587"/>
                <a:gd name="connsiteY394" fmla="*/ 21468 h 344988"/>
                <a:gd name="connsiteX395" fmla="*/ 258434 w 344587"/>
                <a:gd name="connsiteY395" fmla="*/ 23124 h 344988"/>
                <a:gd name="connsiteX396" fmla="*/ 282724 w 344587"/>
                <a:gd name="connsiteY396" fmla="*/ 61936 h 344988"/>
                <a:gd name="connsiteX397" fmla="*/ 321490 w 344587"/>
                <a:gd name="connsiteY397" fmla="*/ 86254 h 344988"/>
                <a:gd name="connsiteX398" fmla="*/ 323144 w 344587"/>
                <a:gd name="connsiteY398" fmla="*/ 132040 h 344988"/>
                <a:gd name="connsiteX399" fmla="*/ 344587 w 344587"/>
                <a:gd name="connsiteY399" fmla="*/ 172508 h 344988"/>
                <a:gd name="connsiteX400" fmla="*/ 323144 w 344587"/>
                <a:gd name="connsiteY400" fmla="*/ 212975 h 344988"/>
                <a:gd name="connsiteX401" fmla="*/ 321490 w 344587"/>
                <a:gd name="connsiteY401" fmla="*/ 258734 h 344988"/>
                <a:gd name="connsiteX402" fmla="*/ 282724 w 344587"/>
                <a:gd name="connsiteY402" fmla="*/ 283052 h 344988"/>
                <a:gd name="connsiteX403" fmla="*/ 258434 w 344587"/>
                <a:gd name="connsiteY403" fmla="*/ 321891 h 344988"/>
                <a:gd name="connsiteX404" fmla="*/ 212700 w 344587"/>
                <a:gd name="connsiteY404" fmla="*/ 323520 h 344988"/>
                <a:gd name="connsiteX405" fmla="*/ 172307 w 344587"/>
                <a:gd name="connsiteY405" fmla="*/ 344988 h 344988"/>
                <a:gd name="connsiteX406" fmla="*/ 131887 w 344587"/>
                <a:gd name="connsiteY406" fmla="*/ 323520 h 344988"/>
                <a:gd name="connsiteX407" fmla="*/ 86154 w 344587"/>
                <a:gd name="connsiteY407" fmla="*/ 321891 h 344988"/>
                <a:gd name="connsiteX408" fmla="*/ 61864 w 344587"/>
                <a:gd name="connsiteY408" fmla="*/ 283052 h 344988"/>
                <a:gd name="connsiteX409" fmla="*/ 23097 w 344587"/>
                <a:gd name="connsiteY409" fmla="*/ 258734 h 344988"/>
                <a:gd name="connsiteX410" fmla="*/ 21444 w 344587"/>
                <a:gd name="connsiteY410" fmla="*/ 212975 h 344988"/>
                <a:gd name="connsiteX411" fmla="*/ 0 w 344587"/>
                <a:gd name="connsiteY411" fmla="*/ 172508 h 344988"/>
                <a:gd name="connsiteX412" fmla="*/ 21444 w 344587"/>
                <a:gd name="connsiteY412" fmla="*/ 132040 h 344988"/>
                <a:gd name="connsiteX413" fmla="*/ 23097 w 344587"/>
                <a:gd name="connsiteY413" fmla="*/ 86254 h 344988"/>
                <a:gd name="connsiteX414" fmla="*/ 61864 w 344587"/>
                <a:gd name="connsiteY414" fmla="*/ 61936 h 344988"/>
                <a:gd name="connsiteX415" fmla="*/ 86154 w 344587"/>
                <a:gd name="connsiteY415" fmla="*/ 23124 h 344988"/>
                <a:gd name="connsiteX416" fmla="*/ 131887 w 344587"/>
                <a:gd name="connsiteY416" fmla="*/ 21468 h 344988"/>
                <a:gd name="connsiteX417" fmla="*/ 172307 w 344587"/>
                <a:gd name="connsiteY417" fmla="*/ 0 h 34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44587" h="344988">
                  <a:moveTo>
                    <a:pt x="167961" y="276672"/>
                  </a:moveTo>
                  <a:lnTo>
                    <a:pt x="168781" y="281441"/>
                  </a:lnTo>
                  <a:lnTo>
                    <a:pt x="165282" y="284827"/>
                  </a:lnTo>
                  <a:lnTo>
                    <a:pt x="170121" y="285532"/>
                  </a:lnTo>
                  <a:lnTo>
                    <a:pt x="172307" y="289894"/>
                  </a:lnTo>
                  <a:lnTo>
                    <a:pt x="174467" y="285532"/>
                  </a:lnTo>
                  <a:lnTo>
                    <a:pt x="179306" y="284827"/>
                  </a:lnTo>
                  <a:lnTo>
                    <a:pt x="175806" y="281441"/>
                  </a:lnTo>
                  <a:lnTo>
                    <a:pt x="176627" y="276672"/>
                  </a:lnTo>
                  <a:lnTo>
                    <a:pt x="172307" y="278921"/>
                  </a:lnTo>
                  <a:close/>
                  <a:moveTo>
                    <a:pt x="194527" y="274468"/>
                  </a:moveTo>
                  <a:lnTo>
                    <a:pt x="190704" y="277391"/>
                  </a:lnTo>
                  <a:lnTo>
                    <a:pt x="186127" y="275943"/>
                  </a:lnTo>
                  <a:lnTo>
                    <a:pt x="187742" y="280475"/>
                  </a:lnTo>
                  <a:lnTo>
                    <a:pt x="184915" y="284363"/>
                  </a:lnTo>
                  <a:lnTo>
                    <a:pt x="189761" y="284229"/>
                  </a:lnTo>
                  <a:lnTo>
                    <a:pt x="192615" y="288091"/>
                  </a:lnTo>
                  <a:lnTo>
                    <a:pt x="193961" y="283479"/>
                  </a:lnTo>
                  <a:lnTo>
                    <a:pt x="198538" y="281977"/>
                  </a:lnTo>
                  <a:lnTo>
                    <a:pt x="194554" y="279268"/>
                  </a:lnTo>
                  <a:close/>
                  <a:moveTo>
                    <a:pt x="149919" y="274468"/>
                  </a:moveTo>
                  <a:lnTo>
                    <a:pt x="149892" y="279268"/>
                  </a:lnTo>
                  <a:lnTo>
                    <a:pt x="145849" y="281977"/>
                  </a:lnTo>
                  <a:lnTo>
                    <a:pt x="150493" y="283479"/>
                  </a:lnTo>
                  <a:lnTo>
                    <a:pt x="151859" y="288091"/>
                  </a:lnTo>
                  <a:lnTo>
                    <a:pt x="154755" y="284229"/>
                  </a:lnTo>
                  <a:lnTo>
                    <a:pt x="159672" y="284363"/>
                  </a:lnTo>
                  <a:lnTo>
                    <a:pt x="156804" y="280475"/>
                  </a:lnTo>
                  <a:lnTo>
                    <a:pt x="158443" y="275943"/>
                  </a:lnTo>
                  <a:lnTo>
                    <a:pt x="153798" y="277391"/>
                  </a:lnTo>
                  <a:close/>
                  <a:moveTo>
                    <a:pt x="211844" y="268858"/>
                  </a:moveTo>
                  <a:lnTo>
                    <a:pt x="208584" y="272467"/>
                  </a:lnTo>
                  <a:lnTo>
                    <a:pt x="203747" y="271811"/>
                  </a:lnTo>
                  <a:lnTo>
                    <a:pt x="206165" y="276075"/>
                  </a:lnTo>
                  <a:lnTo>
                    <a:pt x="204046" y="280504"/>
                  </a:lnTo>
                  <a:lnTo>
                    <a:pt x="208828" y="279492"/>
                  </a:lnTo>
                  <a:lnTo>
                    <a:pt x="212334" y="282882"/>
                  </a:lnTo>
                  <a:lnTo>
                    <a:pt x="212877" y="278016"/>
                  </a:lnTo>
                  <a:lnTo>
                    <a:pt x="217170" y="275693"/>
                  </a:lnTo>
                  <a:lnTo>
                    <a:pt x="212714" y="273670"/>
                  </a:lnTo>
                  <a:close/>
                  <a:moveTo>
                    <a:pt x="132663" y="268858"/>
                  </a:moveTo>
                  <a:lnTo>
                    <a:pt x="131807" y="273670"/>
                  </a:lnTo>
                  <a:lnTo>
                    <a:pt x="127417" y="275693"/>
                  </a:lnTo>
                  <a:lnTo>
                    <a:pt x="131646" y="278016"/>
                  </a:lnTo>
                  <a:lnTo>
                    <a:pt x="132182" y="282882"/>
                  </a:lnTo>
                  <a:lnTo>
                    <a:pt x="135635" y="279492"/>
                  </a:lnTo>
                  <a:lnTo>
                    <a:pt x="140345" y="280504"/>
                  </a:lnTo>
                  <a:lnTo>
                    <a:pt x="138258" y="276075"/>
                  </a:lnTo>
                  <a:lnTo>
                    <a:pt x="140640" y="271811"/>
                  </a:lnTo>
                  <a:lnTo>
                    <a:pt x="135875" y="272467"/>
                  </a:lnTo>
                  <a:close/>
                  <a:moveTo>
                    <a:pt x="228015" y="260644"/>
                  </a:moveTo>
                  <a:lnTo>
                    <a:pt x="225418" y="264769"/>
                  </a:lnTo>
                  <a:lnTo>
                    <a:pt x="220576" y="264959"/>
                  </a:lnTo>
                  <a:lnTo>
                    <a:pt x="223687" y="268704"/>
                  </a:lnTo>
                  <a:lnTo>
                    <a:pt x="222361" y="273372"/>
                  </a:lnTo>
                  <a:lnTo>
                    <a:pt x="226879" y="271581"/>
                  </a:lnTo>
                  <a:lnTo>
                    <a:pt x="230910" y="274268"/>
                  </a:lnTo>
                  <a:lnTo>
                    <a:pt x="230585" y="269410"/>
                  </a:lnTo>
                  <a:lnTo>
                    <a:pt x="234399" y="266398"/>
                  </a:lnTo>
                  <a:lnTo>
                    <a:pt x="229692" y="265204"/>
                  </a:lnTo>
                  <a:close/>
                  <a:moveTo>
                    <a:pt x="116572" y="260644"/>
                  </a:moveTo>
                  <a:lnTo>
                    <a:pt x="114895" y="265204"/>
                  </a:lnTo>
                  <a:lnTo>
                    <a:pt x="110188" y="266398"/>
                  </a:lnTo>
                  <a:lnTo>
                    <a:pt x="114002" y="269410"/>
                  </a:lnTo>
                  <a:lnTo>
                    <a:pt x="113678" y="274268"/>
                  </a:lnTo>
                  <a:lnTo>
                    <a:pt x="117708" y="271581"/>
                  </a:lnTo>
                  <a:lnTo>
                    <a:pt x="122226" y="273372"/>
                  </a:lnTo>
                  <a:lnTo>
                    <a:pt x="120900" y="268704"/>
                  </a:lnTo>
                  <a:lnTo>
                    <a:pt x="124011" y="264959"/>
                  </a:lnTo>
                  <a:lnTo>
                    <a:pt x="119169" y="264769"/>
                  </a:lnTo>
                  <a:close/>
                  <a:moveTo>
                    <a:pt x="242363" y="249625"/>
                  </a:moveTo>
                  <a:lnTo>
                    <a:pt x="240527" y="254100"/>
                  </a:lnTo>
                  <a:lnTo>
                    <a:pt x="235802" y="255124"/>
                  </a:lnTo>
                  <a:lnTo>
                    <a:pt x="239501" y="258251"/>
                  </a:lnTo>
                  <a:lnTo>
                    <a:pt x="239015" y="263048"/>
                  </a:lnTo>
                  <a:lnTo>
                    <a:pt x="243119" y="260515"/>
                  </a:lnTo>
                  <a:lnTo>
                    <a:pt x="247546" y="262455"/>
                  </a:lnTo>
                  <a:lnTo>
                    <a:pt x="246413" y="257766"/>
                  </a:lnTo>
                  <a:lnTo>
                    <a:pt x="249625" y="254154"/>
                  </a:lnTo>
                  <a:lnTo>
                    <a:pt x="244792" y="253776"/>
                  </a:lnTo>
                  <a:close/>
                  <a:moveTo>
                    <a:pt x="102024" y="249625"/>
                  </a:moveTo>
                  <a:lnTo>
                    <a:pt x="99594" y="253776"/>
                  </a:lnTo>
                  <a:lnTo>
                    <a:pt x="94762" y="254154"/>
                  </a:lnTo>
                  <a:lnTo>
                    <a:pt x="97975" y="257766"/>
                  </a:lnTo>
                  <a:lnTo>
                    <a:pt x="96841" y="262455"/>
                  </a:lnTo>
                  <a:lnTo>
                    <a:pt x="101268" y="260515"/>
                  </a:lnTo>
                  <a:lnTo>
                    <a:pt x="105372" y="263048"/>
                  </a:lnTo>
                  <a:lnTo>
                    <a:pt x="104886" y="258251"/>
                  </a:lnTo>
                  <a:lnTo>
                    <a:pt x="108585" y="255124"/>
                  </a:lnTo>
                  <a:lnTo>
                    <a:pt x="103860" y="254100"/>
                  </a:lnTo>
                  <a:close/>
                  <a:moveTo>
                    <a:pt x="254712" y="236203"/>
                  </a:moveTo>
                  <a:lnTo>
                    <a:pt x="253690" y="240928"/>
                  </a:lnTo>
                  <a:lnTo>
                    <a:pt x="249225" y="242764"/>
                  </a:lnTo>
                  <a:lnTo>
                    <a:pt x="253394" y="245220"/>
                  </a:lnTo>
                  <a:lnTo>
                    <a:pt x="253771" y="250026"/>
                  </a:lnTo>
                  <a:lnTo>
                    <a:pt x="257348" y="246813"/>
                  </a:lnTo>
                  <a:lnTo>
                    <a:pt x="262056" y="247974"/>
                  </a:lnTo>
                  <a:lnTo>
                    <a:pt x="260119" y="243520"/>
                  </a:lnTo>
                  <a:lnTo>
                    <a:pt x="262648" y="239416"/>
                  </a:lnTo>
                  <a:lnTo>
                    <a:pt x="257833" y="239902"/>
                  </a:lnTo>
                  <a:close/>
                  <a:moveTo>
                    <a:pt x="89793" y="236203"/>
                  </a:moveTo>
                  <a:lnTo>
                    <a:pt x="86626" y="239902"/>
                  </a:lnTo>
                  <a:lnTo>
                    <a:pt x="81739" y="239416"/>
                  </a:lnTo>
                  <a:lnTo>
                    <a:pt x="84333" y="243520"/>
                  </a:lnTo>
                  <a:lnTo>
                    <a:pt x="82340" y="247974"/>
                  </a:lnTo>
                  <a:lnTo>
                    <a:pt x="87118" y="246813"/>
                  </a:lnTo>
                  <a:lnTo>
                    <a:pt x="90749" y="250026"/>
                  </a:lnTo>
                  <a:lnTo>
                    <a:pt x="91131" y="245220"/>
                  </a:lnTo>
                  <a:lnTo>
                    <a:pt x="95363" y="242764"/>
                  </a:lnTo>
                  <a:lnTo>
                    <a:pt x="90831" y="240928"/>
                  </a:lnTo>
                  <a:close/>
                  <a:moveTo>
                    <a:pt x="264558" y="220977"/>
                  </a:moveTo>
                  <a:lnTo>
                    <a:pt x="264341" y="225819"/>
                  </a:lnTo>
                  <a:lnTo>
                    <a:pt x="260243" y="228416"/>
                  </a:lnTo>
                  <a:lnTo>
                    <a:pt x="264803" y="230093"/>
                  </a:lnTo>
                  <a:lnTo>
                    <a:pt x="265997" y="234800"/>
                  </a:lnTo>
                  <a:lnTo>
                    <a:pt x="269009" y="230986"/>
                  </a:lnTo>
                  <a:lnTo>
                    <a:pt x="273867" y="231311"/>
                  </a:lnTo>
                  <a:lnTo>
                    <a:pt x="271180" y="227280"/>
                  </a:lnTo>
                  <a:lnTo>
                    <a:pt x="272971" y="222762"/>
                  </a:lnTo>
                  <a:lnTo>
                    <a:pt x="268276" y="224088"/>
                  </a:lnTo>
                  <a:close/>
                  <a:moveTo>
                    <a:pt x="80029" y="220977"/>
                  </a:moveTo>
                  <a:lnTo>
                    <a:pt x="76311" y="224088"/>
                  </a:lnTo>
                  <a:lnTo>
                    <a:pt x="71616" y="222762"/>
                  </a:lnTo>
                  <a:lnTo>
                    <a:pt x="73407" y="227280"/>
                  </a:lnTo>
                  <a:lnTo>
                    <a:pt x="70721" y="231311"/>
                  </a:lnTo>
                  <a:lnTo>
                    <a:pt x="75578" y="230986"/>
                  </a:lnTo>
                  <a:lnTo>
                    <a:pt x="78590" y="234800"/>
                  </a:lnTo>
                  <a:lnTo>
                    <a:pt x="79785" y="230093"/>
                  </a:lnTo>
                  <a:lnTo>
                    <a:pt x="84344" y="228416"/>
                  </a:lnTo>
                  <a:lnTo>
                    <a:pt x="80246" y="225819"/>
                  </a:lnTo>
                  <a:close/>
                  <a:moveTo>
                    <a:pt x="271410" y="204148"/>
                  </a:moveTo>
                  <a:lnTo>
                    <a:pt x="272066" y="208985"/>
                  </a:lnTo>
                  <a:lnTo>
                    <a:pt x="268457" y="212245"/>
                  </a:lnTo>
                  <a:lnTo>
                    <a:pt x="273269" y="213115"/>
                  </a:lnTo>
                  <a:lnTo>
                    <a:pt x="275292" y="217571"/>
                  </a:lnTo>
                  <a:lnTo>
                    <a:pt x="277615" y="213278"/>
                  </a:lnTo>
                  <a:lnTo>
                    <a:pt x="282481" y="212734"/>
                  </a:lnTo>
                  <a:lnTo>
                    <a:pt x="279091" y="209229"/>
                  </a:lnTo>
                  <a:lnTo>
                    <a:pt x="280076" y="204447"/>
                  </a:lnTo>
                  <a:lnTo>
                    <a:pt x="275674" y="206566"/>
                  </a:lnTo>
                  <a:close/>
                  <a:moveTo>
                    <a:pt x="73019" y="204148"/>
                  </a:moveTo>
                  <a:lnTo>
                    <a:pt x="68816" y="206566"/>
                  </a:lnTo>
                  <a:lnTo>
                    <a:pt x="64477" y="204447"/>
                  </a:lnTo>
                  <a:lnTo>
                    <a:pt x="65447" y="209229"/>
                  </a:lnTo>
                  <a:lnTo>
                    <a:pt x="62106" y="212734"/>
                  </a:lnTo>
                  <a:lnTo>
                    <a:pt x="66903" y="213278"/>
                  </a:lnTo>
                  <a:lnTo>
                    <a:pt x="69193" y="217571"/>
                  </a:lnTo>
                  <a:lnTo>
                    <a:pt x="71187" y="213115"/>
                  </a:lnTo>
                  <a:lnTo>
                    <a:pt x="75929" y="212245"/>
                  </a:lnTo>
                  <a:lnTo>
                    <a:pt x="72373" y="208985"/>
                  </a:lnTo>
                  <a:close/>
                  <a:moveTo>
                    <a:pt x="283915" y="185116"/>
                  </a:moveTo>
                  <a:lnTo>
                    <a:pt x="279950" y="187963"/>
                  </a:lnTo>
                  <a:lnTo>
                    <a:pt x="275388" y="186320"/>
                  </a:lnTo>
                  <a:lnTo>
                    <a:pt x="276854" y="191001"/>
                  </a:lnTo>
                  <a:lnTo>
                    <a:pt x="273867" y="194861"/>
                  </a:lnTo>
                  <a:lnTo>
                    <a:pt x="278755" y="194888"/>
                  </a:lnTo>
                  <a:lnTo>
                    <a:pt x="281498" y="198939"/>
                  </a:lnTo>
                  <a:lnTo>
                    <a:pt x="283019" y="194286"/>
                  </a:lnTo>
                  <a:lnTo>
                    <a:pt x="287690" y="192917"/>
                  </a:lnTo>
                  <a:lnTo>
                    <a:pt x="283780" y="190015"/>
                  </a:lnTo>
                  <a:close/>
                  <a:moveTo>
                    <a:pt x="60472" y="185116"/>
                  </a:moveTo>
                  <a:lnTo>
                    <a:pt x="60608" y="190015"/>
                  </a:lnTo>
                  <a:lnTo>
                    <a:pt x="56697" y="192917"/>
                  </a:lnTo>
                  <a:lnTo>
                    <a:pt x="61368" y="194286"/>
                  </a:lnTo>
                  <a:lnTo>
                    <a:pt x="62889" y="198939"/>
                  </a:lnTo>
                  <a:lnTo>
                    <a:pt x="65632" y="194888"/>
                  </a:lnTo>
                  <a:lnTo>
                    <a:pt x="70520" y="194861"/>
                  </a:lnTo>
                  <a:lnTo>
                    <a:pt x="67533" y="191001"/>
                  </a:lnTo>
                  <a:lnTo>
                    <a:pt x="68999" y="186320"/>
                  </a:lnTo>
                  <a:lnTo>
                    <a:pt x="64437" y="187963"/>
                  </a:lnTo>
                  <a:close/>
                  <a:moveTo>
                    <a:pt x="284437" y="165482"/>
                  </a:moveTo>
                  <a:lnTo>
                    <a:pt x="281057" y="168981"/>
                  </a:lnTo>
                  <a:lnTo>
                    <a:pt x="276271" y="168161"/>
                  </a:lnTo>
                  <a:lnTo>
                    <a:pt x="278542" y="172508"/>
                  </a:lnTo>
                  <a:lnTo>
                    <a:pt x="276271" y="176827"/>
                  </a:lnTo>
                  <a:lnTo>
                    <a:pt x="281057" y="176007"/>
                  </a:lnTo>
                  <a:lnTo>
                    <a:pt x="284437" y="179506"/>
                  </a:lnTo>
                  <a:lnTo>
                    <a:pt x="285140" y="174667"/>
                  </a:lnTo>
                  <a:lnTo>
                    <a:pt x="289493" y="172508"/>
                  </a:lnTo>
                  <a:lnTo>
                    <a:pt x="285140" y="170321"/>
                  </a:lnTo>
                  <a:close/>
                  <a:moveTo>
                    <a:pt x="60027" y="165482"/>
                  </a:moveTo>
                  <a:lnTo>
                    <a:pt x="59313" y="170321"/>
                  </a:lnTo>
                  <a:lnTo>
                    <a:pt x="54894" y="172508"/>
                  </a:lnTo>
                  <a:lnTo>
                    <a:pt x="59313" y="174667"/>
                  </a:lnTo>
                  <a:lnTo>
                    <a:pt x="60027" y="179506"/>
                  </a:lnTo>
                  <a:lnTo>
                    <a:pt x="63458" y="176007"/>
                  </a:lnTo>
                  <a:lnTo>
                    <a:pt x="68317" y="176827"/>
                  </a:lnTo>
                  <a:lnTo>
                    <a:pt x="66011" y="172508"/>
                  </a:lnTo>
                  <a:lnTo>
                    <a:pt x="68317" y="168161"/>
                  </a:lnTo>
                  <a:lnTo>
                    <a:pt x="63458" y="168981"/>
                  </a:lnTo>
                  <a:close/>
                  <a:moveTo>
                    <a:pt x="281498" y="146049"/>
                  </a:moveTo>
                  <a:lnTo>
                    <a:pt x="278755" y="150092"/>
                  </a:lnTo>
                  <a:lnTo>
                    <a:pt x="273867" y="150120"/>
                  </a:lnTo>
                  <a:lnTo>
                    <a:pt x="276854" y="153999"/>
                  </a:lnTo>
                  <a:lnTo>
                    <a:pt x="275388" y="158670"/>
                  </a:lnTo>
                  <a:lnTo>
                    <a:pt x="279950" y="157004"/>
                  </a:lnTo>
                  <a:lnTo>
                    <a:pt x="283915" y="159872"/>
                  </a:lnTo>
                  <a:lnTo>
                    <a:pt x="283780" y="154955"/>
                  </a:lnTo>
                  <a:lnTo>
                    <a:pt x="287690" y="152059"/>
                  </a:lnTo>
                  <a:lnTo>
                    <a:pt x="283019" y="150693"/>
                  </a:lnTo>
                  <a:close/>
                  <a:moveTo>
                    <a:pt x="62889" y="146049"/>
                  </a:moveTo>
                  <a:lnTo>
                    <a:pt x="61368" y="150693"/>
                  </a:lnTo>
                  <a:lnTo>
                    <a:pt x="56697" y="152059"/>
                  </a:lnTo>
                  <a:lnTo>
                    <a:pt x="60608" y="154955"/>
                  </a:lnTo>
                  <a:lnTo>
                    <a:pt x="60472" y="159872"/>
                  </a:lnTo>
                  <a:lnTo>
                    <a:pt x="64437" y="157004"/>
                  </a:lnTo>
                  <a:lnTo>
                    <a:pt x="68999" y="158670"/>
                  </a:lnTo>
                  <a:lnTo>
                    <a:pt x="67533" y="153999"/>
                  </a:lnTo>
                  <a:lnTo>
                    <a:pt x="70520" y="150120"/>
                  </a:lnTo>
                  <a:lnTo>
                    <a:pt x="65632" y="150092"/>
                  </a:lnTo>
                  <a:close/>
                  <a:moveTo>
                    <a:pt x="275292" y="127618"/>
                  </a:moveTo>
                  <a:lnTo>
                    <a:pt x="273269" y="132007"/>
                  </a:lnTo>
                  <a:lnTo>
                    <a:pt x="268457" y="132864"/>
                  </a:lnTo>
                  <a:lnTo>
                    <a:pt x="272066" y="136103"/>
                  </a:lnTo>
                  <a:lnTo>
                    <a:pt x="271410" y="140840"/>
                  </a:lnTo>
                  <a:lnTo>
                    <a:pt x="275674" y="138458"/>
                  </a:lnTo>
                  <a:lnTo>
                    <a:pt x="280076" y="140546"/>
                  </a:lnTo>
                  <a:lnTo>
                    <a:pt x="279091" y="135862"/>
                  </a:lnTo>
                  <a:lnTo>
                    <a:pt x="282481" y="132382"/>
                  </a:lnTo>
                  <a:lnTo>
                    <a:pt x="277615" y="131847"/>
                  </a:lnTo>
                  <a:close/>
                  <a:moveTo>
                    <a:pt x="69193" y="127618"/>
                  </a:moveTo>
                  <a:lnTo>
                    <a:pt x="66903" y="131847"/>
                  </a:lnTo>
                  <a:lnTo>
                    <a:pt x="62106" y="132382"/>
                  </a:lnTo>
                  <a:lnTo>
                    <a:pt x="65447" y="135862"/>
                  </a:lnTo>
                  <a:lnTo>
                    <a:pt x="64477" y="140546"/>
                  </a:lnTo>
                  <a:lnTo>
                    <a:pt x="68816" y="138458"/>
                  </a:lnTo>
                  <a:lnTo>
                    <a:pt x="73019" y="140840"/>
                  </a:lnTo>
                  <a:lnTo>
                    <a:pt x="72373" y="136103"/>
                  </a:lnTo>
                  <a:lnTo>
                    <a:pt x="75929" y="132864"/>
                  </a:lnTo>
                  <a:lnTo>
                    <a:pt x="71187" y="132007"/>
                  </a:lnTo>
                  <a:close/>
                  <a:moveTo>
                    <a:pt x="265997" y="110188"/>
                  </a:moveTo>
                  <a:lnTo>
                    <a:pt x="264803" y="114963"/>
                  </a:lnTo>
                  <a:lnTo>
                    <a:pt x="260243" y="116665"/>
                  </a:lnTo>
                  <a:lnTo>
                    <a:pt x="264341" y="119299"/>
                  </a:lnTo>
                  <a:lnTo>
                    <a:pt x="264558" y="124212"/>
                  </a:lnTo>
                  <a:lnTo>
                    <a:pt x="268276" y="121083"/>
                  </a:lnTo>
                  <a:lnTo>
                    <a:pt x="272971" y="122401"/>
                  </a:lnTo>
                  <a:lnTo>
                    <a:pt x="271180" y="117845"/>
                  </a:lnTo>
                  <a:lnTo>
                    <a:pt x="273867" y="113756"/>
                  </a:lnTo>
                  <a:lnTo>
                    <a:pt x="269009" y="114057"/>
                  </a:lnTo>
                  <a:close/>
                  <a:moveTo>
                    <a:pt x="78590" y="110188"/>
                  </a:moveTo>
                  <a:lnTo>
                    <a:pt x="75578" y="114057"/>
                  </a:lnTo>
                  <a:lnTo>
                    <a:pt x="70721" y="113756"/>
                  </a:lnTo>
                  <a:lnTo>
                    <a:pt x="73407" y="117845"/>
                  </a:lnTo>
                  <a:lnTo>
                    <a:pt x="71616" y="122401"/>
                  </a:lnTo>
                  <a:lnTo>
                    <a:pt x="76311" y="121083"/>
                  </a:lnTo>
                  <a:lnTo>
                    <a:pt x="80029" y="124212"/>
                  </a:lnTo>
                  <a:lnTo>
                    <a:pt x="80246" y="119299"/>
                  </a:lnTo>
                  <a:lnTo>
                    <a:pt x="84344" y="116665"/>
                  </a:lnTo>
                  <a:lnTo>
                    <a:pt x="79785" y="114963"/>
                  </a:lnTo>
                  <a:close/>
                  <a:moveTo>
                    <a:pt x="172293" y="107507"/>
                  </a:moveTo>
                  <a:cubicBezTo>
                    <a:pt x="169195" y="107507"/>
                    <a:pt x="166097" y="109253"/>
                    <a:pt x="164742" y="112163"/>
                  </a:cubicBezTo>
                  <a:lnTo>
                    <a:pt x="148477" y="145335"/>
                  </a:lnTo>
                  <a:lnTo>
                    <a:pt x="111881" y="150766"/>
                  </a:lnTo>
                  <a:cubicBezTo>
                    <a:pt x="108589" y="151154"/>
                    <a:pt x="106072" y="153482"/>
                    <a:pt x="104910" y="156392"/>
                  </a:cubicBezTo>
                  <a:cubicBezTo>
                    <a:pt x="103942" y="159496"/>
                    <a:pt x="104910" y="162988"/>
                    <a:pt x="107234" y="165121"/>
                  </a:cubicBezTo>
                  <a:lnTo>
                    <a:pt x="133567" y="190922"/>
                  </a:lnTo>
                  <a:lnTo>
                    <a:pt x="127371" y="227392"/>
                  </a:lnTo>
                  <a:cubicBezTo>
                    <a:pt x="126790" y="230689"/>
                    <a:pt x="128146" y="233987"/>
                    <a:pt x="130663" y="235733"/>
                  </a:cubicBezTo>
                  <a:cubicBezTo>
                    <a:pt x="132212" y="236897"/>
                    <a:pt x="133955" y="237479"/>
                    <a:pt x="135697" y="237479"/>
                  </a:cubicBezTo>
                  <a:cubicBezTo>
                    <a:pt x="137053" y="237479"/>
                    <a:pt x="138408" y="237091"/>
                    <a:pt x="139570" y="236509"/>
                  </a:cubicBezTo>
                  <a:lnTo>
                    <a:pt x="172293" y="219244"/>
                  </a:lnTo>
                  <a:lnTo>
                    <a:pt x="205016" y="236509"/>
                  </a:lnTo>
                  <a:cubicBezTo>
                    <a:pt x="206372" y="237091"/>
                    <a:pt x="207727" y="237479"/>
                    <a:pt x="209083" y="237479"/>
                  </a:cubicBezTo>
                  <a:cubicBezTo>
                    <a:pt x="210825" y="237479"/>
                    <a:pt x="212568" y="236897"/>
                    <a:pt x="213923" y="235733"/>
                  </a:cubicBezTo>
                  <a:cubicBezTo>
                    <a:pt x="216634" y="233987"/>
                    <a:pt x="217990" y="230689"/>
                    <a:pt x="217409" y="227392"/>
                  </a:cubicBezTo>
                  <a:lnTo>
                    <a:pt x="211213" y="190922"/>
                  </a:lnTo>
                  <a:lnTo>
                    <a:pt x="237546" y="165121"/>
                  </a:lnTo>
                  <a:cubicBezTo>
                    <a:pt x="239870" y="162988"/>
                    <a:pt x="240644" y="159496"/>
                    <a:pt x="239676" y="156392"/>
                  </a:cubicBezTo>
                  <a:cubicBezTo>
                    <a:pt x="238708" y="153482"/>
                    <a:pt x="235997" y="151154"/>
                    <a:pt x="232899" y="150766"/>
                  </a:cubicBezTo>
                  <a:lnTo>
                    <a:pt x="196303" y="145335"/>
                  </a:lnTo>
                  <a:lnTo>
                    <a:pt x="180038" y="112163"/>
                  </a:lnTo>
                  <a:cubicBezTo>
                    <a:pt x="178489" y="109253"/>
                    <a:pt x="175585" y="107507"/>
                    <a:pt x="172293" y="107507"/>
                  </a:cubicBezTo>
                  <a:close/>
                  <a:moveTo>
                    <a:pt x="253771" y="94962"/>
                  </a:moveTo>
                  <a:lnTo>
                    <a:pt x="253394" y="99795"/>
                  </a:lnTo>
                  <a:lnTo>
                    <a:pt x="249225" y="102225"/>
                  </a:lnTo>
                  <a:lnTo>
                    <a:pt x="253690" y="104061"/>
                  </a:lnTo>
                  <a:lnTo>
                    <a:pt x="254712" y="108785"/>
                  </a:lnTo>
                  <a:lnTo>
                    <a:pt x="257833" y="105114"/>
                  </a:lnTo>
                  <a:lnTo>
                    <a:pt x="262648" y="105573"/>
                  </a:lnTo>
                  <a:lnTo>
                    <a:pt x="260119" y="101469"/>
                  </a:lnTo>
                  <a:lnTo>
                    <a:pt x="262056" y="97041"/>
                  </a:lnTo>
                  <a:lnTo>
                    <a:pt x="257348" y="98175"/>
                  </a:lnTo>
                  <a:close/>
                  <a:moveTo>
                    <a:pt x="90749" y="94962"/>
                  </a:moveTo>
                  <a:lnTo>
                    <a:pt x="87118" y="98175"/>
                  </a:lnTo>
                  <a:lnTo>
                    <a:pt x="82340" y="97041"/>
                  </a:lnTo>
                  <a:lnTo>
                    <a:pt x="84333" y="101469"/>
                  </a:lnTo>
                  <a:lnTo>
                    <a:pt x="81739" y="105573"/>
                  </a:lnTo>
                  <a:lnTo>
                    <a:pt x="86626" y="105114"/>
                  </a:lnTo>
                  <a:lnTo>
                    <a:pt x="89793" y="108785"/>
                  </a:lnTo>
                  <a:lnTo>
                    <a:pt x="90831" y="104061"/>
                  </a:lnTo>
                  <a:lnTo>
                    <a:pt x="95363" y="102225"/>
                  </a:lnTo>
                  <a:lnTo>
                    <a:pt x="91131" y="99795"/>
                  </a:lnTo>
                  <a:close/>
                  <a:moveTo>
                    <a:pt x="239015" y="81940"/>
                  </a:moveTo>
                  <a:lnTo>
                    <a:pt x="239501" y="86827"/>
                  </a:lnTo>
                  <a:lnTo>
                    <a:pt x="235802" y="89993"/>
                  </a:lnTo>
                  <a:lnTo>
                    <a:pt x="240527" y="91031"/>
                  </a:lnTo>
                  <a:lnTo>
                    <a:pt x="242363" y="95563"/>
                  </a:lnTo>
                  <a:lnTo>
                    <a:pt x="244792" y="91331"/>
                  </a:lnTo>
                  <a:lnTo>
                    <a:pt x="249625" y="90976"/>
                  </a:lnTo>
                  <a:lnTo>
                    <a:pt x="246413" y="87318"/>
                  </a:lnTo>
                  <a:lnTo>
                    <a:pt x="247546" y="82568"/>
                  </a:lnTo>
                  <a:lnTo>
                    <a:pt x="243119" y="84533"/>
                  </a:lnTo>
                  <a:close/>
                  <a:moveTo>
                    <a:pt x="105372" y="81940"/>
                  </a:moveTo>
                  <a:lnTo>
                    <a:pt x="101268" y="84533"/>
                  </a:lnTo>
                  <a:lnTo>
                    <a:pt x="96841" y="82568"/>
                  </a:lnTo>
                  <a:lnTo>
                    <a:pt x="97975" y="87318"/>
                  </a:lnTo>
                  <a:lnTo>
                    <a:pt x="94762" y="90976"/>
                  </a:lnTo>
                  <a:lnTo>
                    <a:pt x="99594" y="91331"/>
                  </a:lnTo>
                  <a:lnTo>
                    <a:pt x="102024" y="95563"/>
                  </a:lnTo>
                  <a:lnTo>
                    <a:pt x="103860" y="91031"/>
                  </a:lnTo>
                  <a:lnTo>
                    <a:pt x="108585" y="89993"/>
                  </a:lnTo>
                  <a:lnTo>
                    <a:pt x="104886" y="86827"/>
                  </a:lnTo>
                  <a:close/>
                  <a:moveTo>
                    <a:pt x="230910" y="70720"/>
                  </a:moveTo>
                  <a:lnTo>
                    <a:pt x="226879" y="73474"/>
                  </a:lnTo>
                  <a:lnTo>
                    <a:pt x="222361" y="71629"/>
                  </a:lnTo>
                  <a:lnTo>
                    <a:pt x="223687" y="76393"/>
                  </a:lnTo>
                  <a:lnTo>
                    <a:pt x="220576" y="80193"/>
                  </a:lnTo>
                  <a:lnTo>
                    <a:pt x="225418" y="80386"/>
                  </a:lnTo>
                  <a:lnTo>
                    <a:pt x="228015" y="84544"/>
                  </a:lnTo>
                  <a:lnTo>
                    <a:pt x="229692" y="79918"/>
                  </a:lnTo>
                  <a:lnTo>
                    <a:pt x="234399" y="78706"/>
                  </a:lnTo>
                  <a:lnTo>
                    <a:pt x="230585" y="75650"/>
                  </a:lnTo>
                  <a:close/>
                  <a:moveTo>
                    <a:pt x="113678" y="70720"/>
                  </a:moveTo>
                  <a:lnTo>
                    <a:pt x="114002" y="75650"/>
                  </a:lnTo>
                  <a:lnTo>
                    <a:pt x="110188" y="78706"/>
                  </a:lnTo>
                  <a:lnTo>
                    <a:pt x="114895" y="79918"/>
                  </a:lnTo>
                  <a:lnTo>
                    <a:pt x="116572" y="84544"/>
                  </a:lnTo>
                  <a:lnTo>
                    <a:pt x="119169" y="80386"/>
                  </a:lnTo>
                  <a:lnTo>
                    <a:pt x="124011" y="80193"/>
                  </a:lnTo>
                  <a:lnTo>
                    <a:pt x="120900" y="76393"/>
                  </a:lnTo>
                  <a:lnTo>
                    <a:pt x="122226" y="71629"/>
                  </a:lnTo>
                  <a:lnTo>
                    <a:pt x="117708" y="73474"/>
                  </a:lnTo>
                  <a:close/>
                  <a:moveTo>
                    <a:pt x="212334" y="62106"/>
                  </a:moveTo>
                  <a:lnTo>
                    <a:pt x="208828" y="65489"/>
                  </a:lnTo>
                  <a:lnTo>
                    <a:pt x="204046" y="64507"/>
                  </a:lnTo>
                  <a:lnTo>
                    <a:pt x="206165" y="68900"/>
                  </a:lnTo>
                  <a:lnTo>
                    <a:pt x="203747" y="73156"/>
                  </a:lnTo>
                  <a:lnTo>
                    <a:pt x="208584" y="72501"/>
                  </a:lnTo>
                  <a:lnTo>
                    <a:pt x="211844" y="76130"/>
                  </a:lnTo>
                  <a:lnTo>
                    <a:pt x="212714" y="71301"/>
                  </a:lnTo>
                  <a:lnTo>
                    <a:pt x="217170" y="69282"/>
                  </a:lnTo>
                  <a:lnTo>
                    <a:pt x="212877" y="66962"/>
                  </a:lnTo>
                  <a:close/>
                  <a:moveTo>
                    <a:pt x="132182" y="62106"/>
                  </a:moveTo>
                  <a:lnTo>
                    <a:pt x="131646" y="66962"/>
                  </a:lnTo>
                  <a:lnTo>
                    <a:pt x="127417" y="69282"/>
                  </a:lnTo>
                  <a:lnTo>
                    <a:pt x="131807" y="71301"/>
                  </a:lnTo>
                  <a:lnTo>
                    <a:pt x="132663" y="76130"/>
                  </a:lnTo>
                  <a:lnTo>
                    <a:pt x="135875" y="72501"/>
                  </a:lnTo>
                  <a:lnTo>
                    <a:pt x="140640" y="73156"/>
                  </a:lnTo>
                  <a:lnTo>
                    <a:pt x="138258" y="68900"/>
                  </a:lnTo>
                  <a:lnTo>
                    <a:pt x="140345" y="64507"/>
                  </a:lnTo>
                  <a:lnTo>
                    <a:pt x="135635" y="65489"/>
                  </a:lnTo>
                  <a:close/>
                  <a:moveTo>
                    <a:pt x="192615" y="56897"/>
                  </a:moveTo>
                  <a:lnTo>
                    <a:pt x="189761" y="60835"/>
                  </a:lnTo>
                  <a:lnTo>
                    <a:pt x="184915" y="60672"/>
                  </a:lnTo>
                  <a:lnTo>
                    <a:pt x="187742" y="64637"/>
                  </a:lnTo>
                  <a:lnTo>
                    <a:pt x="186127" y="69227"/>
                  </a:lnTo>
                  <a:lnTo>
                    <a:pt x="190704" y="67733"/>
                  </a:lnTo>
                  <a:lnTo>
                    <a:pt x="194527" y="70720"/>
                  </a:lnTo>
                  <a:lnTo>
                    <a:pt x="194554" y="65832"/>
                  </a:lnTo>
                  <a:lnTo>
                    <a:pt x="198538" y="63089"/>
                  </a:lnTo>
                  <a:lnTo>
                    <a:pt x="193961" y="61568"/>
                  </a:lnTo>
                  <a:close/>
                  <a:moveTo>
                    <a:pt x="151859" y="56897"/>
                  </a:moveTo>
                  <a:lnTo>
                    <a:pt x="150493" y="61568"/>
                  </a:lnTo>
                  <a:lnTo>
                    <a:pt x="145849" y="63089"/>
                  </a:lnTo>
                  <a:lnTo>
                    <a:pt x="149892" y="65832"/>
                  </a:lnTo>
                  <a:lnTo>
                    <a:pt x="149919" y="70720"/>
                  </a:lnTo>
                  <a:lnTo>
                    <a:pt x="153798" y="67733"/>
                  </a:lnTo>
                  <a:lnTo>
                    <a:pt x="158443" y="69227"/>
                  </a:lnTo>
                  <a:lnTo>
                    <a:pt x="156804" y="64637"/>
                  </a:lnTo>
                  <a:lnTo>
                    <a:pt x="159672" y="60672"/>
                  </a:lnTo>
                  <a:lnTo>
                    <a:pt x="154755" y="60835"/>
                  </a:lnTo>
                  <a:close/>
                  <a:moveTo>
                    <a:pt x="172307" y="55094"/>
                  </a:moveTo>
                  <a:lnTo>
                    <a:pt x="170121" y="59447"/>
                  </a:lnTo>
                  <a:lnTo>
                    <a:pt x="165282" y="60150"/>
                  </a:lnTo>
                  <a:lnTo>
                    <a:pt x="168781" y="63530"/>
                  </a:lnTo>
                  <a:lnTo>
                    <a:pt x="167961" y="68316"/>
                  </a:lnTo>
                  <a:lnTo>
                    <a:pt x="172307" y="66045"/>
                  </a:lnTo>
                  <a:lnTo>
                    <a:pt x="176627" y="68316"/>
                  </a:lnTo>
                  <a:lnTo>
                    <a:pt x="175806" y="63530"/>
                  </a:lnTo>
                  <a:lnTo>
                    <a:pt x="179306" y="60150"/>
                  </a:lnTo>
                  <a:lnTo>
                    <a:pt x="174467" y="59447"/>
                  </a:lnTo>
                  <a:close/>
                  <a:moveTo>
                    <a:pt x="171615" y="48293"/>
                  </a:moveTo>
                  <a:cubicBezTo>
                    <a:pt x="239051" y="48293"/>
                    <a:pt x="293719" y="102961"/>
                    <a:pt x="293719" y="170398"/>
                  </a:cubicBezTo>
                  <a:cubicBezTo>
                    <a:pt x="293719" y="237834"/>
                    <a:pt x="239051" y="292503"/>
                    <a:pt x="171615" y="292503"/>
                  </a:cubicBezTo>
                  <a:cubicBezTo>
                    <a:pt x="104179" y="292503"/>
                    <a:pt x="49510" y="237834"/>
                    <a:pt x="49510" y="170398"/>
                  </a:cubicBezTo>
                  <a:cubicBezTo>
                    <a:pt x="49510" y="102961"/>
                    <a:pt x="104179" y="48293"/>
                    <a:pt x="171615" y="48293"/>
                  </a:cubicBezTo>
                  <a:close/>
                  <a:moveTo>
                    <a:pt x="171615" y="34348"/>
                  </a:moveTo>
                  <a:cubicBezTo>
                    <a:pt x="96477" y="34348"/>
                    <a:pt x="35565" y="95260"/>
                    <a:pt x="35565" y="170398"/>
                  </a:cubicBezTo>
                  <a:cubicBezTo>
                    <a:pt x="35565" y="245536"/>
                    <a:pt x="96477" y="306448"/>
                    <a:pt x="171615" y="306448"/>
                  </a:cubicBezTo>
                  <a:cubicBezTo>
                    <a:pt x="246753" y="306448"/>
                    <a:pt x="307665" y="245536"/>
                    <a:pt x="307665" y="170398"/>
                  </a:cubicBezTo>
                  <a:cubicBezTo>
                    <a:pt x="307665" y="95260"/>
                    <a:pt x="246753" y="34348"/>
                    <a:pt x="171615" y="34348"/>
                  </a:cubicBezTo>
                  <a:close/>
                  <a:moveTo>
                    <a:pt x="172307" y="0"/>
                  </a:moveTo>
                  <a:cubicBezTo>
                    <a:pt x="186784" y="0"/>
                    <a:pt x="198956" y="17777"/>
                    <a:pt x="212700" y="21468"/>
                  </a:cubicBezTo>
                  <a:cubicBezTo>
                    <a:pt x="226580" y="25187"/>
                    <a:pt x="246018" y="15932"/>
                    <a:pt x="258434" y="23124"/>
                  </a:cubicBezTo>
                  <a:cubicBezTo>
                    <a:pt x="270768" y="30235"/>
                    <a:pt x="272476" y="51703"/>
                    <a:pt x="282724" y="61936"/>
                  </a:cubicBezTo>
                  <a:cubicBezTo>
                    <a:pt x="292944" y="72195"/>
                    <a:pt x="314387" y="73905"/>
                    <a:pt x="321490" y="86254"/>
                  </a:cubicBezTo>
                  <a:cubicBezTo>
                    <a:pt x="328674" y="98684"/>
                    <a:pt x="319430" y="118144"/>
                    <a:pt x="323144" y="132040"/>
                  </a:cubicBezTo>
                  <a:cubicBezTo>
                    <a:pt x="326831" y="145801"/>
                    <a:pt x="344587" y="158014"/>
                    <a:pt x="344587" y="172508"/>
                  </a:cubicBezTo>
                  <a:cubicBezTo>
                    <a:pt x="344587" y="187001"/>
                    <a:pt x="326831" y="199214"/>
                    <a:pt x="323144" y="212975"/>
                  </a:cubicBezTo>
                  <a:cubicBezTo>
                    <a:pt x="319430" y="226844"/>
                    <a:pt x="328674" y="246304"/>
                    <a:pt x="321490" y="258734"/>
                  </a:cubicBezTo>
                  <a:cubicBezTo>
                    <a:pt x="314387" y="271083"/>
                    <a:pt x="292944" y="272793"/>
                    <a:pt x="282724" y="283052"/>
                  </a:cubicBezTo>
                  <a:cubicBezTo>
                    <a:pt x="272476" y="293312"/>
                    <a:pt x="270768" y="314753"/>
                    <a:pt x="258434" y="321891"/>
                  </a:cubicBezTo>
                  <a:cubicBezTo>
                    <a:pt x="246018" y="329056"/>
                    <a:pt x="226580" y="319801"/>
                    <a:pt x="212700" y="323520"/>
                  </a:cubicBezTo>
                  <a:cubicBezTo>
                    <a:pt x="198956" y="327211"/>
                    <a:pt x="186784" y="344988"/>
                    <a:pt x="172307" y="344988"/>
                  </a:cubicBezTo>
                  <a:cubicBezTo>
                    <a:pt x="157804" y="344988"/>
                    <a:pt x="145632" y="327211"/>
                    <a:pt x="131887" y="323520"/>
                  </a:cubicBezTo>
                  <a:cubicBezTo>
                    <a:pt x="118007" y="319801"/>
                    <a:pt x="98570" y="329056"/>
                    <a:pt x="86154" y="321891"/>
                  </a:cubicBezTo>
                  <a:cubicBezTo>
                    <a:pt x="73819" y="314753"/>
                    <a:pt x="72111" y="293312"/>
                    <a:pt x="61864" y="283052"/>
                  </a:cubicBezTo>
                  <a:cubicBezTo>
                    <a:pt x="51644" y="272793"/>
                    <a:pt x="30200" y="271083"/>
                    <a:pt x="23097" y="258734"/>
                  </a:cubicBezTo>
                  <a:cubicBezTo>
                    <a:pt x="15913" y="246304"/>
                    <a:pt x="25158" y="226844"/>
                    <a:pt x="21444" y="212975"/>
                  </a:cubicBezTo>
                  <a:cubicBezTo>
                    <a:pt x="17757" y="199214"/>
                    <a:pt x="0" y="187001"/>
                    <a:pt x="0" y="172508"/>
                  </a:cubicBezTo>
                  <a:cubicBezTo>
                    <a:pt x="0" y="158014"/>
                    <a:pt x="17757" y="145801"/>
                    <a:pt x="21444" y="132040"/>
                  </a:cubicBezTo>
                  <a:cubicBezTo>
                    <a:pt x="25158" y="118144"/>
                    <a:pt x="15913" y="98684"/>
                    <a:pt x="23097" y="86254"/>
                  </a:cubicBezTo>
                  <a:cubicBezTo>
                    <a:pt x="30200" y="73905"/>
                    <a:pt x="51644" y="72195"/>
                    <a:pt x="61864" y="61936"/>
                  </a:cubicBezTo>
                  <a:cubicBezTo>
                    <a:pt x="72111" y="51703"/>
                    <a:pt x="73819" y="30235"/>
                    <a:pt x="86154" y="23124"/>
                  </a:cubicBezTo>
                  <a:cubicBezTo>
                    <a:pt x="98570" y="15932"/>
                    <a:pt x="118007" y="25187"/>
                    <a:pt x="131887" y="21468"/>
                  </a:cubicBezTo>
                  <a:cubicBezTo>
                    <a:pt x="145632" y="17777"/>
                    <a:pt x="157804" y="0"/>
                    <a:pt x="17230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352">
              <a:extLst>
                <a:ext uri="{FF2B5EF4-FFF2-40B4-BE49-F238E27FC236}">
                  <a16:creationId xmlns:a16="http://schemas.microsoft.com/office/drawing/2014/main" id="{02E74E3F-674C-468C-B05E-B8BF34A8A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6243" y="443760"/>
              <a:ext cx="145448" cy="207954"/>
            </a:xfrm>
            <a:custGeom>
              <a:avLst/>
              <a:gdLst>
                <a:gd name="T0" fmla="*/ 3234 w 5365"/>
                <a:gd name="T1" fmla="*/ 384 h 7662"/>
                <a:gd name="T2" fmla="*/ 1547 w 5365"/>
                <a:gd name="T3" fmla="*/ 444 h 7662"/>
                <a:gd name="T4" fmla="*/ 57 w 5365"/>
                <a:gd name="T5" fmla="*/ 1235 h 7662"/>
                <a:gd name="T6" fmla="*/ 0 w 5365"/>
                <a:gd name="T7" fmla="*/ 1233 h 7662"/>
                <a:gd name="T8" fmla="*/ 1722 w 5365"/>
                <a:gd name="T9" fmla="*/ 7662 h 7662"/>
                <a:gd name="T10" fmla="*/ 3185 w 5365"/>
                <a:gd name="T11" fmla="*/ 5834 h 7662"/>
                <a:gd name="T12" fmla="*/ 5365 w 5365"/>
                <a:gd name="T13" fmla="*/ 6686 h 7662"/>
                <a:gd name="T14" fmla="*/ 3574 w 5365"/>
                <a:gd name="T15" fmla="*/ 0 h 7662"/>
                <a:gd name="T16" fmla="*/ 3234 w 5365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5" h="7662">
                  <a:moveTo>
                    <a:pt x="3234" y="384"/>
                  </a:moveTo>
                  <a:cubicBezTo>
                    <a:pt x="2776" y="649"/>
                    <a:pt x="2059" y="307"/>
                    <a:pt x="1547" y="444"/>
                  </a:cubicBezTo>
                  <a:cubicBezTo>
                    <a:pt x="1040" y="580"/>
                    <a:pt x="591" y="1235"/>
                    <a:pt x="57" y="1235"/>
                  </a:cubicBezTo>
                  <a:cubicBezTo>
                    <a:pt x="37" y="1235"/>
                    <a:pt x="18" y="1235"/>
                    <a:pt x="0" y="1233"/>
                  </a:cubicBezTo>
                  <a:lnTo>
                    <a:pt x="1722" y="7662"/>
                  </a:lnTo>
                  <a:lnTo>
                    <a:pt x="3185" y="5834"/>
                  </a:lnTo>
                  <a:lnTo>
                    <a:pt x="5365" y="6686"/>
                  </a:lnTo>
                  <a:lnTo>
                    <a:pt x="3574" y="0"/>
                  </a:lnTo>
                  <a:cubicBezTo>
                    <a:pt x="3485" y="162"/>
                    <a:pt x="3380" y="300"/>
                    <a:pt x="3234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353">
              <a:extLst>
                <a:ext uri="{FF2B5EF4-FFF2-40B4-BE49-F238E27FC236}">
                  <a16:creationId xmlns:a16="http://schemas.microsoft.com/office/drawing/2014/main" id="{DAD1C763-E31E-4212-98CA-65F48FEFF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373" y="443760"/>
              <a:ext cx="145448" cy="207954"/>
            </a:xfrm>
            <a:custGeom>
              <a:avLst/>
              <a:gdLst>
                <a:gd name="T0" fmla="*/ 2131 w 5366"/>
                <a:gd name="T1" fmla="*/ 384 h 7662"/>
                <a:gd name="T2" fmla="*/ 3818 w 5366"/>
                <a:gd name="T3" fmla="*/ 444 h 7662"/>
                <a:gd name="T4" fmla="*/ 5308 w 5366"/>
                <a:gd name="T5" fmla="*/ 1235 h 7662"/>
                <a:gd name="T6" fmla="*/ 5366 w 5366"/>
                <a:gd name="T7" fmla="*/ 1233 h 7662"/>
                <a:gd name="T8" fmla="*/ 3643 w 5366"/>
                <a:gd name="T9" fmla="*/ 7662 h 7662"/>
                <a:gd name="T10" fmla="*/ 2180 w 5366"/>
                <a:gd name="T11" fmla="*/ 5834 h 7662"/>
                <a:gd name="T12" fmla="*/ 0 w 5366"/>
                <a:gd name="T13" fmla="*/ 6686 h 7662"/>
                <a:gd name="T14" fmla="*/ 1791 w 5366"/>
                <a:gd name="T15" fmla="*/ 0 h 7662"/>
                <a:gd name="T16" fmla="*/ 2131 w 5366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6" h="7662">
                  <a:moveTo>
                    <a:pt x="2131" y="384"/>
                  </a:moveTo>
                  <a:cubicBezTo>
                    <a:pt x="2589" y="649"/>
                    <a:pt x="3306" y="307"/>
                    <a:pt x="3818" y="444"/>
                  </a:cubicBezTo>
                  <a:cubicBezTo>
                    <a:pt x="4325" y="580"/>
                    <a:pt x="4774" y="1235"/>
                    <a:pt x="5308" y="1235"/>
                  </a:cubicBezTo>
                  <a:cubicBezTo>
                    <a:pt x="5328" y="1235"/>
                    <a:pt x="5347" y="1235"/>
                    <a:pt x="5366" y="1233"/>
                  </a:cubicBezTo>
                  <a:lnTo>
                    <a:pt x="3643" y="7662"/>
                  </a:lnTo>
                  <a:lnTo>
                    <a:pt x="2180" y="5834"/>
                  </a:lnTo>
                  <a:lnTo>
                    <a:pt x="0" y="6686"/>
                  </a:lnTo>
                  <a:lnTo>
                    <a:pt x="1791" y="0"/>
                  </a:lnTo>
                  <a:cubicBezTo>
                    <a:pt x="1880" y="162"/>
                    <a:pt x="1985" y="300"/>
                    <a:pt x="2131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AD2A1ED3-37E2-4CA7-9B30-8E6FAAECBB8C}"/>
              </a:ext>
            </a:extLst>
          </p:cNvPr>
          <p:cNvSpPr/>
          <p:nvPr/>
        </p:nvSpPr>
        <p:spPr>
          <a:xfrm>
            <a:off x="1787091" y="3872627"/>
            <a:ext cx="208210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5400" b="1" cap="none" spc="0" dirty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</a:rPr>
              <a:t>PASSIF</a:t>
            </a:r>
          </a:p>
        </p:txBody>
      </p:sp>
    </p:spTree>
    <p:extLst>
      <p:ext uri="{BB962C8B-B14F-4D97-AF65-F5344CB8AC3E}">
        <p14:creationId xmlns:p14="http://schemas.microsoft.com/office/powerpoint/2010/main" val="98175928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E8F175C6-C15F-4DB0-8423-A1EF4AADC8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960121" y="960120"/>
            <a:ext cx="10271760" cy="4937759"/>
          </a:xfrm>
          <a:prstGeom prst="rect">
            <a:avLst/>
          </a:prstGeom>
          <a:solidFill>
            <a:schemeClr val="accent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232A2D28-A06C-48FD-ABB4-EB7E27B84308}"/>
              </a:ext>
            </a:extLst>
          </p:cNvPr>
          <p:cNvSpPr txBox="1"/>
          <p:nvPr/>
        </p:nvSpPr>
        <p:spPr>
          <a:xfrm>
            <a:off x="1189723" y="1087656"/>
            <a:ext cx="9812554" cy="77665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/>
          </a:bodyPr>
          <a:lstStyle/>
          <a:p>
            <a:pPr lvl="0" algn="l"/>
            <a:r>
              <a:rPr lang="fr-FR" sz="4400" kern="1200" dirty="0">
                <a:latin typeface="Arial" panose="020B0604020202020204" pitchFamily="34" charset="0"/>
                <a:cs typeface="Arial" panose="020B0604020202020204" pitchFamily="34" charset="0"/>
              </a:rPr>
              <a:t>Classe 1 : Les capitaux </a:t>
            </a:r>
          </a:p>
        </p:txBody>
      </p:sp>
      <p:graphicFrame>
        <p:nvGraphicFramePr>
          <p:cNvPr id="6" name="Espace réservé du contenu 5">
            <a:extLst>
              <a:ext uri="{FF2B5EF4-FFF2-40B4-BE49-F238E27FC236}">
                <a16:creationId xmlns:a16="http://schemas.microsoft.com/office/drawing/2014/main" id="{4A6E514C-D3C4-4B29-BB5C-DB98C7CA574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29037927"/>
              </p:ext>
            </p:extLst>
          </p:nvPr>
        </p:nvGraphicFramePr>
        <p:xfrm>
          <a:off x="1189722" y="1864312"/>
          <a:ext cx="9812555" cy="38141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632621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E8F175C6-C15F-4DB0-8423-A1EF4AADC8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960121" y="960120"/>
            <a:ext cx="10271760" cy="4937759"/>
          </a:xfrm>
          <a:prstGeom prst="rect">
            <a:avLst/>
          </a:prstGeom>
          <a:solidFill>
            <a:schemeClr val="accent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232A2D28-A06C-48FD-ABB4-EB7E27B84308}"/>
              </a:ext>
            </a:extLst>
          </p:cNvPr>
          <p:cNvSpPr txBox="1"/>
          <p:nvPr/>
        </p:nvSpPr>
        <p:spPr>
          <a:xfrm>
            <a:off x="1189723" y="1087656"/>
            <a:ext cx="9812554" cy="77665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/>
          </a:bodyPr>
          <a:lstStyle/>
          <a:p>
            <a:pPr lvl="0" algn="l"/>
            <a:r>
              <a:rPr lang="fr-FR" sz="4400" kern="1200" dirty="0">
                <a:latin typeface="Arial" panose="020B0604020202020204" pitchFamily="34" charset="0"/>
                <a:cs typeface="Arial" panose="020B0604020202020204" pitchFamily="34" charset="0"/>
              </a:rPr>
              <a:t>Classe 1 : Les capitaux </a:t>
            </a:r>
          </a:p>
        </p:txBody>
      </p:sp>
      <p:graphicFrame>
        <p:nvGraphicFramePr>
          <p:cNvPr id="6" name="Espace réservé du contenu 5">
            <a:extLst>
              <a:ext uri="{FF2B5EF4-FFF2-40B4-BE49-F238E27FC236}">
                <a16:creationId xmlns:a16="http://schemas.microsoft.com/office/drawing/2014/main" id="{4A6E514C-D3C4-4B29-BB5C-DB98C7CA574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69122366"/>
              </p:ext>
            </p:extLst>
          </p:nvPr>
        </p:nvGraphicFramePr>
        <p:xfrm>
          <a:off x="1189722" y="1864312"/>
          <a:ext cx="9812555" cy="38141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6800822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E8F175C6-C15F-4DB0-8423-A1EF4AADC8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960121" y="960120"/>
            <a:ext cx="10271760" cy="4937759"/>
          </a:xfrm>
          <a:prstGeom prst="rect">
            <a:avLst/>
          </a:prstGeom>
          <a:solidFill>
            <a:schemeClr val="accent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232A2D28-A06C-48FD-ABB4-EB7E27B84308}"/>
              </a:ext>
            </a:extLst>
          </p:cNvPr>
          <p:cNvSpPr txBox="1"/>
          <p:nvPr/>
        </p:nvSpPr>
        <p:spPr>
          <a:xfrm>
            <a:off x="1189723" y="1087656"/>
            <a:ext cx="9812554" cy="77665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/>
          </a:bodyPr>
          <a:lstStyle/>
          <a:p>
            <a:pPr lvl="0" algn="l"/>
            <a:r>
              <a:rPr lang="fr-FR" sz="4400" kern="1200" dirty="0">
                <a:latin typeface="Arial" panose="020B0604020202020204" pitchFamily="34" charset="0"/>
                <a:cs typeface="Arial" panose="020B0604020202020204" pitchFamily="34" charset="0"/>
              </a:rPr>
              <a:t>Classe 1 : Les capitaux </a:t>
            </a:r>
          </a:p>
        </p:txBody>
      </p:sp>
      <p:graphicFrame>
        <p:nvGraphicFramePr>
          <p:cNvPr id="6" name="Espace réservé du contenu 5">
            <a:extLst>
              <a:ext uri="{FF2B5EF4-FFF2-40B4-BE49-F238E27FC236}">
                <a16:creationId xmlns:a16="http://schemas.microsoft.com/office/drawing/2014/main" id="{4A6E514C-D3C4-4B29-BB5C-DB98C7CA574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18386280"/>
              </p:ext>
            </p:extLst>
          </p:nvPr>
        </p:nvGraphicFramePr>
        <p:xfrm>
          <a:off x="1189722" y="1864312"/>
          <a:ext cx="9812555" cy="38141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5963228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E8F175C6-C15F-4DB0-8423-A1EF4AADC8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960121" y="960120"/>
            <a:ext cx="10271760" cy="4937759"/>
          </a:xfrm>
          <a:prstGeom prst="rect">
            <a:avLst/>
          </a:prstGeom>
          <a:solidFill>
            <a:schemeClr val="accent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232A2D28-A06C-48FD-ABB4-EB7E27B84308}"/>
              </a:ext>
            </a:extLst>
          </p:cNvPr>
          <p:cNvSpPr txBox="1"/>
          <p:nvPr/>
        </p:nvSpPr>
        <p:spPr>
          <a:xfrm>
            <a:off x="1189723" y="1087656"/>
            <a:ext cx="9812554" cy="77665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/>
          </a:bodyPr>
          <a:lstStyle/>
          <a:p>
            <a:pPr lvl="0" algn="l"/>
            <a:r>
              <a:rPr lang="fr-FR" sz="4400" kern="1200" dirty="0">
                <a:latin typeface="Arial" panose="020B0604020202020204" pitchFamily="34" charset="0"/>
                <a:cs typeface="Arial" panose="020B0604020202020204" pitchFamily="34" charset="0"/>
              </a:rPr>
              <a:t>Classe 4 : Les dettes </a:t>
            </a:r>
          </a:p>
        </p:txBody>
      </p:sp>
      <p:graphicFrame>
        <p:nvGraphicFramePr>
          <p:cNvPr id="6" name="Espace réservé du contenu 5">
            <a:extLst>
              <a:ext uri="{FF2B5EF4-FFF2-40B4-BE49-F238E27FC236}">
                <a16:creationId xmlns:a16="http://schemas.microsoft.com/office/drawing/2014/main" id="{4A6E514C-D3C4-4B29-BB5C-DB98C7CA574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25991784"/>
              </p:ext>
            </p:extLst>
          </p:nvPr>
        </p:nvGraphicFramePr>
        <p:xfrm>
          <a:off x="1189722" y="1864312"/>
          <a:ext cx="9812555" cy="38141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1834930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25">
            <a:extLst>
              <a:ext uri="{FF2B5EF4-FFF2-40B4-BE49-F238E27FC236}">
                <a16:creationId xmlns:a16="http://schemas.microsoft.com/office/drawing/2014/main" id="{8FC9BE17-9A7B-462D-AE50-3D87773873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 descr="Plusieurs points d’interrogation sur fond noir">
            <a:extLst>
              <a:ext uri="{FF2B5EF4-FFF2-40B4-BE49-F238E27FC236}">
                <a16:creationId xmlns:a16="http://schemas.microsoft.com/office/drawing/2014/main" id="{1FD79E4A-E80D-4BA5-BEA9-44F693117FD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9906" t="9091" r="-1" b="-1"/>
          <a:stretch/>
        </p:blipFill>
        <p:spPr>
          <a:xfrm>
            <a:off x="3523488" y="10"/>
            <a:ext cx="8668512" cy="6857990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EBE8569-6AEC-4B8C-8D53-2DE337CDBA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" y="0"/>
            <a:ext cx="9756601" cy="6858000"/>
          </a:xfrm>
          <a:prstGeom prst="rect">
            <a:avLst/>
          </a:prstGeom>
          <a:gradFill>
            <a:gsLst>
              <a:gs pos="58000">
                <a:schemeClr val="bg1"/>
              </a:gs>
              <a:gs pos="35000">
                <a:schemeClr val="bg1">
                  <a:alpha val="78000"/>
                </a:schemeClr>
              </a:gs>
              <a:gs pos="19000">
                <a:schemeClr val="bg1">
                  <a:alpha val="38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093" y="1161288"/>
            <a:ext cx="7605587" cy="443485"/>
          </a:xfr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z="2800" dirty="0" err="1"/>
              <a:t>Rechercher</a:t>
            </a:r>
            <a:r>
              <a:rPr lang="en-US" sz="2800" dirty="0"/>
              <a:t> dans le PCG – </a:t>
            </a:r>
            <a:r>
              <a:rPr lang="en-US" sz="2800" dirty="0" err="1"/>
              <a:t>utilisez</a:t>
            </a:r>
            <a:r>
              <a:rPr lang="en-US" sz="2800" dirty="0"/>
              <a:t> la </a:t>
            </a:r>
            <a:r>
              <a:rPr lang="en-US" sz="2800" dirty="0" err="1"/>
              <a:t>liste</a:t>
            </a:r>
            <a:r>
              <a:rPr lang="en-US" sz="2800" dirty="0"/>
              <a:t> </a:t>
            </a:r>
            <a:r>
              <a:rPr lang="en-US" sz="2800" dirty="0" err="1"/>
              <a:t>abrégée</a:t>
            </a:r>
            <a:r>
              <a:rPr lang="en-US" sz="2800" dirty="0"/>
              <a:t> 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5D4142C-5077-457F-A6AD-3FECFDB396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662559" y="605790"/>
            <a:ext cx="73152" cy="5486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A5F0580-5EE9-419F-96EE-B6529EF6E7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28244" y="2443480"/>
            <a:ext cx="3300984" cy="9144"/>
          </a:xfrm>
          <a:prstGeom prst="rect">
            <a:avLst/>
          </a:prstGeom>
          <a:solidFill>
            <a:srgbClr val="D5D5D5"/>
          </a:solidFill>
          <a:ln w="3175">
            <a:solidFill>
              <a:srgbClr val="D5D5D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060668A1-F703-43F0-AA81-AEEE6C0B4942}"/>
              </a:ext>
            </a:extLst>
          </p:cNvPr>
          <p:cNvSpPr txBox="1"/>
          <p:nvPr/>
        </p:nvSpPr>
        <p:spPr>
          <a:xfrm>
            <a:off x="236221" y="1849374"/>
            <a:ext cx="7108162" cy="4075938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/>
          </a:bodyPr>
          <a:lstStyle/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/>
              <a:t>Acquisition d’un terrain				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/>
              <a:t>Cautions </a:t>
            </a:r>
            <a:r>
              <a:rPr lang="en-US" sz="2800" dirty="0" err="1"/>
              <a:t>versées</a:t>
            </a:r>
            <a:r>
              <a:rPr lang="en-US" sz="2800" dirty="0"/>
              <a:t>	 	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/>
              <a:t>Prêt au salaries				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/>
              <a:t>Depreciation des </a:t>
            </a:r>
            <a:r>
              <a:rPr lang="en-US" sz="2800" dirty="0" err="1"/>
              <a:t>comptes</a:t>
            </a:r>
            <a:r>
              <a:rPr lang="en-US" sz="2800" dirty="0"/>
              <a:t> clients		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/>
              <a:t>Stock de </a:t>
            </a:r>
            <a:r>
              <a:rPr lang="en-US" sz="2800" dirty="0" err="1"/>
              <a:t>marchandises</a:t>
            </a:r>
            <a:r>
              <a:rPr lang="en-US" sz="2800" dirty="0"/>
              <a:t>		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/>
              <a:t>TVA </a:t>
            </a:r>
            <a:r>
              <a:rPr lang="en-US" sz="2800" dirty="0" err="1"/>
              <a:t>collectée</a:t>
            </a:r>
            <a:r>
              <a:rPr lang="en-US" sz="2800" dirty="0"/>
              <a:t> sur les </a:t>
            </a:r>
            <a:r>
              <a:rPr lang="en-US" sz="2800" dirty="0" err="1"/>
              <a:t>achats</a:t>
            </a:r>
            <a:r>
              <a:rPr lang="en-US" sz="2800" dirty="0"/>
              <a:t> </a:t>
            </a:r>
            <a:r>
              <a:rPr lang="en-US" sz="2800" dirty="0" err="1"/>
              <a:t>intracommunautaire</a:t>
            </a:r>
            <a:endParaRPr lang="en-US" sz="2800" dirty="0"/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/>
              <a:t>Frais de constitution de la </a:t>
            </a:r>
            <a:r>
              <a:rPr lang="en-US" sz="2800" dirty="0" err="1"/>
              <a:t>société</a:t>
            </a:r>
            <a:r>
              <a:rPr lang="en-US" sz="2800" dirty="0"/>
              <a:t>		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/>
              <a:t>Cautions </a:t>
            </a:r>
            <a:r>
              <a:rPr lang="en-US" sz="2800" dirty="0" err="1"/>
              <a:t>reçus</a:t>
            </a:r>
            <a:r>
              <a:rPr lang="en-US" sz="2800" dirty="0"/>
              <a:t>	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3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3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D2A775C-5122-4169-8EC5-98E3B99F18F8}"/>
              </a:ext>
            </a:extLst>
          </p:cNvPr>
          <p:cNvSpPr/>
          <p:nvPr/>
        </p:nvSpPr>
        <p:spPr>
          <a:xfrm>
            <a:off x="1316779" y="160735"/>
            <a:ext cx="3180162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Partie 1 :</a:t>
            </a:r>
          </a:p>
        </p:txBody>
      </p:sp>
    </p:spTree>
    <p:extLst>
      <p:ext uri="{BB962C8B-B14F-4D97-AF65-F5344CB8AC3E}">
        <p14:creationId xmlns:p14="http://schemas.microsoft.com/office/powerpoint/2010/main" val="127922818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7D8E67F2-F753-4E06-8229-4970A67258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6483095" cy="6854272"/>
          </a:xfrm>
          <a:prstGeom prst="rect">
            <a:avLst/>
          </a:prstGeom>
          <a:gradFill>
            <a:gsLst>
              <a:gs pos="0">
                <a:schemeClr val="accent1">
                  <a:lumMod val="100000"/>
                  <a:alpha val="82000"/>
                </a:schemeClr>
              </a:gs>
              <a:gs pos="25000">
                <a:schemeClr val="accent1">
                  <a:alpha val="60000"/>
                </a:schemeClr>
              </a:gs>
              <a:gs pos="94000">
                <a:schemeClr val="bg2">
                  <a:lumMod val="75000"/>
                </a:schemeClr>
              </a:gs>
              <a:gs pos="100000">
                <a:schemeClr val="bg2">
                  <a:lumMod val="7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2EE1BDFD-564B-44A4-841A-50D6A8E75C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2" name="Freeform 60">
            <a:extLst>
              <a:ext uri="{FF2B5EF4-FFF2-40B4-BE49-F238E27FC236}">
                <a16:creationId xmlns:a16="http://schemas.microsoft.com/office/drawing/2014/main" id="{007B8288-68CC-4847-8419-CF535B6B7E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763882" y="0"/>
            <a:ext cx="3880988" cy="2206512"/>
          </a:xfrm>
          <a:custGeom>
            <a:avLst/>
            <a:gdLst>
              <a:gd name="connsiteX0" fmla="*/ 20753 w 3960193"/>
              <a:gd name="connsiteY0" fmla="*/ 0 h 2251543"/>
              <a:gd name="connsiteX1" fmla="*/ 3939440 w 3960193"/>
              <a:gd name="connsiteY1" fmla="*/ 0 h 2251543"/>
              <a:gd name="connsiteX2" fmla="*/ 3949969 w 3960193"/>
              <a:gd name="connsiteY2" fmla="*/ 68994 h 2251543"/>
              <a:gd name="connsiteX3" fmla="*/ 3960193 w 3960193"/>
              <a:gd name="connsiteY3" fmla="*/ 271447 h 2251543"/>
              <a:gd name="connsiteX4" fmla="*/ 1980096 w 3960193"/>
              <a:gd name="connsiteY4" fmla="*/ 2251543 h 2251543"/>
              <a:gd name="connsiteX5" fmla="*/ 0 w 3960193"/>
              <a:gd name="connsiteY5" fmla="*/ 271447 h 2251543"/>
              <a:gd name="connsiteX6" fmla="*/ 10224 w 3960193"/>
              <a:gd name="connsiteY6" fmla="*/ 68994 h 22515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60193" h="2251543">
                <a:moveTo>
                  <a:pt x="20753" y="0"/>
                </a:moveTo>
                <a:lnTo>
                  <a:pt x="3939440" y="0"/>
                </a:lnTo>
                <a:lnTo>
                  <a:pt x="3949969" y="68994"/>
                </a:lnTo>
                <a:cubicBezTo>
                  <a:pt x="3956730" y="135559"/>
                  <a:pt x="3960193" y="203099"/>
                  <a:pt x="3960193" y="271447"/>
                </a:cubicBezTo>
                <a:cubicBezTo>
                  <a:pt x="3960193" y="1365024"/>
                  <a:pt x="3073674" y="2251543"/>
                  <a:pt x="1980096" y="2251543"/>
                </a:cubicBezTo>
                <a:cubicBezTo>
                  <a:pt x="886519" y="2251543"/>
                  <a:pt x="0" y="1365024"/>
                  <a:pt x="0" y="271447"/>
                </a:cubicBezTo>
                <a:cubicBezTo>
                  <a:pt x="0" y="203099"/>
                  <a:pt x="3463" y="135559"/>
                  <a:pt x="10224" y="68994"/>
                </a:cubicBezTo>
                <a:close/>
              </a:path>
            </a:pathLst>
          </a:custGeom>
          <a:solidFill>
            <a:srgbClr val="FFFFFF"/>
          </a:solidFill>
          <a:ln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23000">
                  <a:schemeClr val="accent1">
                    <a:lumMod val="45000"/>
                    <a:lumOff val="55000"/>
                  </a:schemeClr>
                </a:gs>
                <a:gs pos="83000">
                  <a:schemeClr val="bg2">
                    <a:lumMod val="75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4456A868-487B-408A-A28A-1D6D0EB32F1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41496" y="525012"/>
            <a:ext cx="2532690" cy="737487"/>
          </a:xfrm>
          <a:prstGeom prst="rect">
            <a:avLst/>
          </a:prstGeom>
        </p:spPr>
      </p:pic>
      <p:sp>
        <p:nvSpPr>
          <p:cNvPr id="54" name="Freeform 68">
            <a:extLst>
              <a:ext uri="{FF2B5EF4-FFF2-40B4-BE49-F238E27FC236}">
                <a16:creationId xmlns:a16="http://schemas.microsoft.com/office/drawing/2014/main" id="{32BA8EA8-C1B6-4309-B674-F9F399B962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912701"/>
            <a:ext cx="4942589" cy="3945299"/>
          </a:xfrm>
          <a:custGeom>
            <a:avLst/>
            <a:gdLst>
              <a:gd name="connsiteX0" fmla="*/ 2223943 w 4942589"/>
              <a:gd name="connsiteY0" fmla="*/ 0 h 3945299"/>
              <a:gd name="connsiteX1" fmla="*/ 4942589 w 4942589"/>
              <a:gd name="connsiteY1" fmla="*/ 2718646 h 3945299"/>
              <a:gd name="connsiteX2" fmla="*/ 4728945 w 4942589"/>
              <a:gd name="connsiteY2" fmla="*/ 3776866 h 3945299"/>
              <a:gd name="connsiteX3" fmla="*/ 4647806 w 4942589"/>
              <a:gd name="connsiteY3" fmla="*/ 3945299 h 3945299"/>
              <a:gd name="connsiteX4" fmla="*/ 0 w 4942589"/>
              <a:gd name="connsiteY4" fmla="*/ 3945299 h 3945299"/>
              <a:gd name="connsiteX5" fmla="*/ 0 w 4942589"/>
              <a:gd name="connsiteY5" fmla="*/ 1157971 h 3945299"/>
              <a:gd name="connsiteX6" fmla="*/ 126104 w 4942589"/>
              <a:gd name="connsiteY6" fmla="*/ 989335 h 3945299"/>
              <a:gd name="connsiteX7" fmla="*/ 2223943 w 4942589"/>
              <a:gd name="connsiteY7" fmla="*/ 0 h 394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942589" h="3945299">
                <a:moveTo>
                  <a:pt x="2223943" y="0"/>
                </a:moveTo>
                <a:cubicBezTo>
                  <a:pt x="3725410" y="0"/>
                  <a:pt x="4942589" y="1217179"/>
                  <a:pt x="4942589" y="2718646"/>
                </a:cubicBezTo>
                <a:cubicBezTo>
                  <a:pt x="4942589" y="3094013"/>
                  <a:pt x="4866516" y="3451612"/>
                  <a:pt x="4728945" y="3776866"/>
                </a:cubicBezTo>
                <a:lnTo>
                  <a:pt x="4647806" y="3945299"/>
                </a:lnTo>
                <a:lnTo>
                  <a:pt x="0" y="3945299"/>
                </a:lnTo>
                <a:lnTo>
                  <a:pt x="0" y="1157971"/>
                </a:lnTo>
                <a:lnTo>
                  <a:pt x="126104" y="989335"/>
                </a:lnTo>
                <a:cubicBezTo>
                  <a:pt x="624744" y="385123"/>
                  <a:pt x="1379368" y="0"/>
                  <a:pt x="2223943" y="0"/>
                </a:cubicBezTo>
                <a:close/>
              </a:path>
            </a:pathLst>
          </a:custGeom>
          <a:solidFill>
            <a:srgbClr val="FFFFFF"/>
          </a:solidFill>
          <a:ln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23000">
                  <a:schemeClr val="accent1">
                    <a:lumMod val="45000"/>
                    <a:lumOff val="55000"/>
                  </a:schemeClr>
                </a:gs>
                <a:gs pos="83000">
                  <a:schemeClr val="bg2">
                    <a:lumMod val="75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2" name="Picture 11" descr="Plusieurs points d’interrogation sur fond noir">
            <a:extLst>
              <a:ext uri="{FF2B5EF4-FFF2-40B4-BE49-F238E27FC236}">
                <a16:creationId xmlns:a16="http://schemas.microsoft.com/office/drawing/2014/main" id="{1FD79E4A-E80D-4BA5-BEA9-44F693117FD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9906" t="9091" r="-1" b="-1"/>
          <a:stretch/>
        </p:blipFill>
        <p:spPr>
          <a:xfrm>
            <a:off x="513580" y="3875314"/>
            <a:ext cx="3375409" cy="2670429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060668A1-F703-43F0-AA81-AEEE6C0B4942}"/>
              </a:ext>
            </a:extLst>
          </p:cNvPr>
          <p:cNvSpPr txBox="1"/>
          <p:nvPr/>
        </p:nvSpPr>
        <p:spPr>
          <a:xfrm>
            <a:off x="5804452" y="894522"/>
            <a:ext cx="6152322" cy="51664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0000"/>
                </a:solidFill>
              </a:rPr>
              <a:t>Acquisition d’un terrain		211		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0000"/>
                </a:solidFill>
              </a:rPr>
              <a:t>Cautions </a:t>
            </a:r>
            <a:r>
              <a:rPr lang="en-US" sz="2400" dirty="0" err="1">
                <a:solidFill>
                  <a:srgbClr val="000000"/>
                </a:solidFill>
              </a:rPr>
              <a:t>versées</a:t>
            </a:r>
            <a:r>
              <a:rPr lang="en-US" sz="2400" dirty="0">
                <a:solidFill>
                  <a:srgbClr val="000000"/>
                </a:solidFill>
              </a:rPr>
              <a:t>	 		275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0000"/>
                </a:solidFill>
              </a:rPr>
              <a:t>Prêt au salaries 			2743	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0000"/>
                </a:solidFill>
              </a:rPr>
              <a:t>Depreciation des </a:t>
            </a:r>
            <a:r>
              <a:rPr lang="en-US" sz="2400" dirty="0" err="1">
                <a:solidFill>
                  <a:srgbClr val="000000"/>
                </a:solidFill>
              </a:rPr>
              <a:t>comptes</a:t>
            </a:r>
            <a:r>
              <a:rPr lang="en-US" sz="2400" dirty="0">
                <a:solidFill>
                  <a:srgbClr val="000000"/>
                </a:solidFill>
              </a:rPr>
              <a:t> clients	491	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0000"/>
                </a:solidFill>
              </a:rPr>
              <a:t>Stock de </a:t>
            </a:r>
            <a:r>
              <a:rPr lang="en-US" sz="2400" dirty="0" err="1">
                <a:solidFill>
                  <a:srgbClr val="000000"/>
                </a:solidFill>
              </a:rPr>
              <a:t>marchandises</a:t>
            </a:r>
            <a:r>
              <a:rPr lang="en-US" sz="2400" dirty="0">
                <a:solidFill>
                  <a:srgbClr val="000000"/>
                </a:solidFill>
              </a:rPr>
              <a:t>		370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0000"/>
                </a:solidFill>
              </a:rPr>
              <a:t>TVA </a:t>
            </a:r>
            <a:r>
              <a:rPr lang="en-US" sz="2400" dirty="0" err="1">
                <a:solidFill>
                  <a:srgbClr val="000000"/>
                </a:solidFill>
              </a:rPr>
              <a:t>collectée</a:t>
            </a:r>
            <a:r>
              <a:rPr lang="en-US" sz="2400" dirty="0">
                <a:solidFill>
                  <a:srgbClr val="000000"/>
                </a:solidFill>
              </a:rPr>
              <a:t> sur les </a:t>
            </a:r>
            <a:r>
              <a:rPr lang="en-US" sz="2400" dirty="0" err="1">
                <a:solidFill>
                  <a:srgbClr val="000000"/>
                </a:solidFill>
              </a:rPr>
              <a:t>achats</a:t>
            </a:r>
            <a:r>
              <a:rPr lang="en-US" sz="2400" dirty="0">
                <a:solidFill>
                  <a:srgbClr val="000000"/>
                </a:solidFill>
              </a:rPr>
              <a:t> U.E	4452	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0000"/>
                </a:solidFill>
              </a:rPr>
              <a:t>Frais de constitution de la </a:t>
            </a:r>
            <a:r>
              <a:rPr lang="en-US" sz="2400" dirty="0" err="1">
                <a:solidFill>
                  <a:srgbClr val="000000"/>
                </a:solidFill>
              </a:rPr>
              <a:t>société</a:t>
            </a:r>
            <a:r>
              <a:rPr lang="en-US" sz="2400" dirty="0">
                <a:solidFill>
                  <a:srgbClr val="000000"/>
                </a:solidFill>
              </a:rPr>
              <a:t>	2011		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0000"/>
                </a:solidFill>
              </a:rPr>
              <a:t>Cautions </a:t>
            </a:r>
            <a:r>
              <a:rPr lang="en-US" sz="2400" dirty="0" err="1">
                <a:solidFill>
                  <a:srgbClr val="000000"/>
                </a:solidFill>
              </a:rPr>
              <a:t>reçus</a:t>
            </a:r>
            <a:r>
              <a:rPr lang="en-US" sz="2400" dirty="0">
                <a:solidFill>
                  <a:srgbClr val="000000"/>
                </a:solidFill>
              </a:rPr>
              <a:t>			165</a:t>
            </a:r>
            <a:r>
              <a:rPr lang="en-US" sz="1700" dirty="0">
                <a:solidFill>
                  <a:srgbClr val="000000"/>
                </a:solidFill>
              </a:rPr>
              <a:t>	</a:t>
            </a:r>
          </a:p>
          <a:p>
            <a:pPr marL="1143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7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7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059696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25">
            <a:extLst>
              <a:ext uri="{FF2B5EF4-FFF2-40B4-BE49-F238E27FC236}">
                <a16:creationId xmlns:a16="http://schemas.microsoft.com/office/drawing/2014/main" id="{8FC9BE17-9A7B-462D-AE50-3D87773873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 descr="Plusieurs points d’interrogation sur fond noir">
            <a:extLst>
              <a:ext uri="{FF2B5EF4-FFF2-40B4-BE49-F238E27FC236}">
                <a16:creationId xmlns:a16="http://schemas.microsoft.com/office/drawing/2014/main" id="{1FD79E4A-E80D-4BA5-BEA9-44F693117FD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9906" t="9091" r="-1" b="-1"/>
          <a:stretch/>
        </p:blipFill>
        <p:spPr>
          <a:xfrm>
            <a:off x="3523488" y="10"/>
            <a:ext cx="8668512" cy="6857990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EBE8569-6AEC-4B8C-8D53-2DE337CDBA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" y="0"/>
            <a:ext cx="9756601" cy="6858000"/>
          </a:xfrm>
          <a:prstGeom prst="rect">
            <a:avLst/>
          </a:prstGeom>
          <a:gradFill>
            <a:gsLst>
              <a:gs pos="58000">
                <a:schemeClr val="bg1"/>
              </a:gs>
              <a:gs pos="35000">
                <a:schemeClr val="bg1">
                  <a:alpha val="78000"/>
                </a:schemeClr>
              </a:gs>
              <a:gs pos="19000">
                <a:schemeClr val="bg1">
                  <a:alpha val="38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093" y="1161288"/>
            <a:ext cx="7605587" cy="443485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2400" dirty="0" err="1"/>
              <a:t>Rechercher</a:t>
            </a:r>
            <a:r>
              <a:rPr lang="en-US" sz="2400" dirty="0"/>
              <a:t> dans le PCG – </a:t>
            </a:r>
            <a:r>
              <a:rPr lang="en-US" sz="2400" dirty="0" err="1"/>
              <a:t>utilisez</a:t>
            </a:r>
            <a:r>
              <a:rPr lang="en-US" sz="2400" dirty="0"/>
              <a:t> la </a:t>
            </a:r>
            <a:r>
              <a:rPr lang="en-US" sz="2400" dirty="0" err="1"/>
              <a:t>liste</a:t>
            </a:r>
            <a:r>
              <a:rPr lang="en-US" sz="2400" dirty="0"/>
              <a:t> </a:t>
            </a:r>
            <a:r>
              <a:rPr lang="en-US" sz="2400" dirty="0" err="1"/>
              <a:t>abrégée</a:t>
            </a:r>
            <a:r>
              <a:rPr lang="en-US" sz="2400" dirty="0"/>
              <a:t> 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5D4142C-5077-457F-A6AD-3FECFDB396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662559" y="605790"/>
            <a:ext cx="73152" cy="5486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A5F0580-5EE9-419F-96EE-B6529EF6E7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28244" y="2443480"/>
            <a:ext cx="3300984" cy="9144"/>
          </a:xfrm>
          <a:prstGeom prst="rect">
            <a:avLst/>
          </a:prstGeom>
          <a:solidFill>
            <a:srgbClr val="D5D5D5"/>
          </a:solidFill>
          <a:ln w="3175">
            <a:solidFill>
              <a:srgbClr val="D5D5D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060668A1-F703-43F0-AA81-AEEE6C0B4942}"/>
              </a:ext>
            </a:extLst>
          </p:cNvPr>
          <p:cNvSpPr txBox="1"/>
          <p:nvPr/>
        </p:nvSpPr>
        <p:spPr>
          <a:xfrm>
            <a:off x="236221" y="1849374"/>
            <a:ext cx="7108162" cy="4501730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/>
          <a:p>
            <a:pPr marL="114300">
              <a:lnSpc>
                <a:spcPct val="90000"/>
              </a:lnSpc>
              <a:spcAft>
                <a:spcPts val="600"/>
              </a:spcAft>
            </a:pPr>
            <a:endParaRPr lang="en-US" dirty="0"/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Capital non </a:t>
            </a:r>
            <a:r>
              <a:rPr lang="en-US" sz="3200" dirty="0" err="1"/>
              <a:t>libéré</a:t>
            </a:r>
            <a:endParaRPr lang="en-US" sz="3200" dirty="0"/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200" dirty="0" err="1"/>
              <a:t>Emprunt</a:t>
            </a:r>
            <a:r>
              <a:rPr lang="en-US" sz="3200" dirty="0"/>
              <a:t> </a:t>
            </a:r>
            <a:r>
              <a:rPr lang="en-US" sz="3200" dirty="0" err="1"/>
              <a:t>bancaires</a:t>
            </a:r>
            <a:endParaRPr lang="en-US" sz="3200" dirty="0"/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Construction sur sol </a:t>
            </a:r>
            <a:r>
              <a:rPr lang="en-US" sz="3200" dirty="0" err="1"/>
              <a:t>d’autrui</a:t>
            </a:r>
            <a:endParaRPr lang="en-US" sz="3200" dirty="0"/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Provisions pour </a:t>
            </a:r>
            <a:r>
              <a:rPr lang="en-US" sz="3200" dirty="0" err="1"/>
              <a:t>litiges</a:t>
            </a:r>
            <a:endParaRPr lang="en-US" sz="3200" dirty="0"/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Droit au bail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Impot </a:t>
            </a:r>
            <a:r>
              <a:rPr lang="en-US" sz="3200" dirty="0" err="1"/>
              <a:t>société</a:t>
            </a:r>
            <a:r>
              <a:rPr lang="en-US" sz="3200" dirty="0"/>
              <a:t> </a:t>
            </a:r>
            <a:r>
              <a:rPr lang="en-US" sz="3200" dirty="0" err="1"/>
              <a:t>dû</a:t>
            </a:r>
            <a:r>
              <a:rPr lang="en-US" sz="3200" dirty="0"/>
              <a:t>	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200" dirty="0" err="1"/>
              <a:t>Produits</a:t>
            </a:r>
            <a:r>
              <a:rPr lang="en-US" sz="3200" dirty="0"/>
              <a:t> constates </a:t>
            </a:r>
            <a:r>
              <a:rPr lang="en-US" sz="3200" dirty="0" err="1"/>
              <a:t>d’avance</a:t>
            </a:r>
            <a:endParaRPr lang="en-US" sz="3200" dirty="0"/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R.R.R à </a:t>
            </a:r>
            <a:r>
              <a:rPr lang="en-US" sz="3200" dirty="0" err="1"/>
              <a:t>établir</a:t>
            </a:r>
            <a:r>
              <a:rPr lang="en-US" sz="3200" dirty="0"/>
              <a:t>	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300" dirty="0"/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300" dirty="0"/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3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3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D2A775C-5122-4169-8EC5-98E3B99F18F8}"/>
              </a:ext>
            </a:extLst>
          </p:cNvPr>
          <p:cNvSpPr/>
          <p:nvPr/>
        </p:nvSpPr>
        <p:spPr>
          <a:xfrm>
            <a:off x="1316779" y="160735"/>
            <a:ext cx="3180162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Partie 2 :</a:t>
            </a:r>
          </a:p>
        </p:txBody>
      </p:sp>
    </p:spTree>
    <p:extLst>
      <p:ext uri="{BB962C8B-B14F-4D97-AF65-F5344CB8AC3E}">
        <p14:creationId xmlns:p14="http://schemas.microsoft.com/office/powerpoint/2010/main" val="127237505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7" name="Rectangle 36">
            <a:extLst>
              <a:ext uri="{FF2B5EF4-FFF2-40B4-BE49-F238E27FC236}">
                <a16:creationId xmlns:a16="http://schemas.microsoft.com/office/drawing/2014/main" id="{35F0E358-1E49-4920-80D8-C3D1387088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 useBgFill="1">
        <p:nvSpPr>
          <p:cNvPr id="39" name="Rectangle 38">
            <a:extLst>
              <a:ext uri="{FF2B5EF4-FFF2-40B4-BE49-F238E27FC236}">
                <a16:creationId xmlns:a16="http://schemas.microsoft.com/office/drawing/2014/main" id="{E2D2362D-7010-4036-B9CA-03DFC8EB3B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DC85BF5E-2BD6-4E5B-8EA3-420B45BB03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7389812" y="0"/>
            <a:ext cx="4802188" cy="6858000"/>
          </a:xfrm>
          <a:custGeom>
            <a:avLst/>
            <a:gdLst>
              <a:gd name="connsiteX0" fmla="*/ 0 w 4802188"/>
              <a:gd name="connsiteY0" fmla="*/ 0 h 6858000"/>
              <a:gd name="connsiteX1" fmla="*/ 4802188 w 4802188"/>
              <a:gd name="connsiteY1" fmla="*/ 0 h 6858000"/>
              <a:gd name="connsiteX2" fmla="*/ 4802188 w 4802188"/>
              <a:gd name="connsiteY2" fmla="*/ 6858000 h 6858000"/>
              <a:gd name="connsiteX3" fmla="*/ 0 w 4802188"/>
              <a:gd name="connsiteY3" fmla="*/ 6858000 h 6858000"/>
              <a:gd name="connsiteX4" fmla="*/ 4763 w 4802188"/>
              <a:gd name="connsiteY4" fmla="*/ 6791325 h 6858000"/>
              <a:gd name="connsiteX5" fmla="*/ 12700 w 4802188"/>
              <a:gd name="connsiteY5" fmla="*/ 6735762 h 6858000"/>
              <a:gd name="connsiteX6" fmla="*/ 22225 w 4802188"/>
              <a:gd name="connsiteY6" fmla="*/ 6683375 h 6858000"/>
              <a:gd name="connsiteX7" fmla="*/ 38100 w 4802188"/>
              <a:gd name="connsiteY7" fmla="*/ 6640512 h 6858000"/>
              <a:gd name="connsiteX8" fmla="*/ 53975 w 4802188"/>
              <a:gd name="connsiteY8" fmla="*/ 6597650 h 6858000"/>
              <a:gd name="connsiteX9" fmla="*/ 73025 w 4802188"/>
              <a:gd name="connsiteY9" fmla="*/ 6561137 h 6858000"/>
              <a:gd name="connsiteX10" fmla="*/ 92075 w 4802188"/>
              <a:gd name="connsiteY10" fmla="*/ 6523037 h 6858000"/>
              <a:gd name="connsiteX11" fmla="*/ 109538 w 4802188"/>
              <a:gd name="connsiteY11" fmla="*/ 6488112 h 6858000"/>
              <a:gd name="connsiteX12" fmla="*/ 127000 w 4802188"/>
              <a:gd name="connsiteY12" fmla="*/ 6448425 h 6858000"/>
              <a:gd name="connsiteX13" fmla="*/ 142875 w 4802188"/>
              <a:gd name="connsiteY13" fmla="*/ 6407150 h 6858000"/>
              <a:gd name="connsiteX14" fmla="*/ 157163 w 4802188"/>
              <a:gd name="connsiteY14" fmla="*/ 6361112 h 6858000"/>
              <a:gd name="connsiteX15" fmla="*/ 168275 w 4802188"/>
              <a:gd name="connsiteY15" fmla="*/ 6311900 h 6858000"/>
              <a:gd name="connsiteX16" fmla="*/ 176213 w 4802188"/>
              <a:gd name="connsiteY16" fmla="*/ 6251575 h 6858000"/>
              <a:gd name="connsiteX17" fmla="*/ 179388 w 4802188"/>
              <a:gd name="connsiteY17" fmla="*/ 6183312 h 6858000"/>
              <a:gd name="connsiteX18" fmla="*/ 176213 w 4802188"/>
              <a:gd name="connsiteY18" fmla="*/ 6113462 h 6858000"/>
              <a:gd name="connsiteX19" fmla="*/ 168275 w 4802188"/>
              <a:gd name="connsiteY19" fmla="*/ 6056312 h 6858000"/>
              <a:gd name="connsiteX20" fmla="*/ 157163 w 4802188"/>
              <a:gd name="connsiteY20" fmla="*/ 6003925 h 6858000"/>
              <a:gd name="connsiteX21" fmla="*/ 142875 w 4802188"/>
              <a:gd name="connsiteY21" fmla="*/ 5956300 h 6858000"/>
              <a:gd name="connsiteX22" fmla="*/ 127000 w 4802188"/>
              <a:gd name="connsiteY22" fmla="*/ 5915025 h 6858000"/>
              <a:gd name="connsiteX23" fmla="*/ 107950 w 4802188"/>
              <a:gd name="connsiteY23" fmla="*/ 5876925 h 6858000"/>
              <a:gd name="connsiteX24" fmla="*/ 88900 w 4802188"/>
              <a:gd name="connsiteY24" fmla="*/ 5840412 h 6858000"/>
              <a:gd name="connsiteX25" fmla="*/ 69850 w 4802188"/>
              <a:gd name="connsiteY25" fmla="*/ 5802312 h 6858000"/>
              <a:gd name="connsiteX26" fmla="*/ 52388 w 4802188"/>
              <a:gd name="connsiteY26" fmla="*/ 5762625 h 6858000"/>
              <a:gd name="connsiteX27" fmla="*/ 34925 w 4802188"/>
              <a:gd name="connsiteY27" fmla="*/ 5721350 h 6858000"/>
              <a:gd name="connsiteX28" fmla="*/ 20638 w 4802188"/>
              <a:gd name="connsiteY28" fmla="*/ 5675312 h 6858000"/>
              <a:gd name="connsiteX29" fmla="*/ 11113 w 4802188"/>
              <a:gd name="connsiteY29" fmla="*/ 5622925 h 6858000"/>
              <a:gd name="connsiteX30" fmla="*/ 1588 w 4802188"/>
              <a:gd name="connsiteY30" fmla="*/ 5562600 h 6858000"/>
              <a:gd name="connsiteX31" fmla="*/ 0 w 4802188"/>
              <a:gd name="connsiteY31" fmla="*/ 5494337 h 6858000"/>
              <a:gd name="connsiteX32" fmla="*/ 1588 w 4802188"/>
              <a:gd name="connsiteY32" fmla="*/ 5426075 h 6858000"/>
              <a:gd name="connsiteX33" fmla="*/ 11113 w 4802188"/>
              <a:gd name="connsiteY33" fmla="*/ 5365750 h 6858000"/>
              <a:gd name="connsiteX34" fmla="*/ 20638 w 4802188"/>
              <a:gd name="connsiteY34" fmla="*/ 5313362 h 6858000"/>
              <a:gd name="connsiteX35" fmla="*/ 34925 w 4802188"/>
              <a:gd name="connsiteY35" fmla="*/ 5268912 h 6858000"/>
              <a:gd name="connsiteX36" fmla="*/ 52388 w 4802188"/>
              <a:gd name="connsiteY36" fmla="*/ 5226050 h 6858000"/>
              <a:gd name="connsiteX37" fmla="*/ 69850 w 4802188"/>
              <a:gd name="connsiteY37" fmla="*/ 5186362 h 6858000"/>
              <a:gd name="connsiteX38" fmla="*/ 88900 w 4802188"/>
              <a:gd name="connsiteY38" fmla="*/ 5149850 h 6858000"/>
              <a:gd name="connsiteX39" fmla="*/ 107950 w 4802188"/>
              <a:gd name="connsiteY39" fmla="*/ 5114925 h 6858000"/>
              <a:gd name="connsiteX40" fmla="*/ 127000 w 4802188"/>
              <a:gd name="connsiteY40" fmla="*/ 5075237 h 6858000"/>
              <a:gd name="connsiteX41" fmla="*/ 142875 w 4802188"/>
              <a:gd name="connsiteY41" fmla="*/ 5033962 h 6858000"/>
              <a:gd name="connsiteX42" fmla="*/ 157163 w 4802188"/>
              <a:gd name="connsiteY42" fmla="*/ 4987925 h 6858000"/>
              <a:gd name="connsiteX43" fmla="*/ 168275 w 4802188"/>
              <a:gd name="connsiteY43" fmla="*/ 4935537 h 6858000"/>
              <a:gd name="connsiteX44" fmla="*/ 176213 w 4802188"/>
              <a:gd name="connsiteY44" fmla="*/ 4875212 h 6858000"/>
              <a:gd name="connsiteX45" fmla="*/ 179388 w 4802188"/>
              <a:gd name="connsiteY45" fmla="*/ 4806950 h 6858000"/>
              <a:gd name="connsiteX46" fmla="*/ 176213 w 4802188"/>
              <a:gd name="connsiteY46" fmla="*/ 4738687 h 6858000"/>
              <a:gd name="connsiteX47" fmla="*/ 168275 w 4802188"/>
              <a:gd name="connsiteY47" fmla="*/ 4678362 h 6858000"/>
              <a:gd name="connsiteX48" fmla="*/ 157163 w 4802188"/>
              <a:gd name="connsiteY48" fmla="*/ 4625975 h 6858000"/>
              <a:gd name="connsiteX49" fmla="*/ 142875 w 4802188"/>
              <a:gd name="connsiteY49" fmla="*/ 4579937 h 6858000"/>
              <a:gd name="connsiteX50" fmla="*/ 127000 w 4802188"/>
              <a:gd name="connsiteY50" fmla="*/ 4537075 h 6858000"/>
              <a:gd name="connsiteX51" fmla="*/ 107950 w 4802188"/>
              <a:gd name="connsiteY51" fmla="*/ 4498975 h 6858000"/>
              <a:gd name="connsiteX52" fmla="*/ 69850 w 4802188"/>
              <a:gd name="connsiteY52" fmla="*/ 4424362 h 6858000"/>
              <a:gd name="connsiteX53" fmla="*/ 52388 w 4802188"/>
              <a:gd name="connsiteY53" fmla="*/ 4386262 h 6858000"/>
              <a:gd name="connsiteX54" fmla="*/ 34925 w 4802188"/>
              <a:gd name="connsiteY54" fmla="*/ 4343400 h 6858000"/>
              <a:gd name="connsiteX55" fmla="*/ 20638 w 4802188"/>
              <a:gd name="connsiteY55" fmla="*/ 4297362 h 6858000"/>
              <a:gd name="connsiteX56" fmla="*/ 11113 w 4802188"/>
              <a:gd name="connsiteY56" fmla="*/ 4244975 h 6858000"/>
              <a:gd name="connsiteX57" fmla="*/ 1588 w 4802188"/>
              <a:gd name="connsiteY57" fmla="*/ 4186237 h 6858000"/>
              <a:gd name="connsiteX58" fmla="*/ 0 w 4802188"/>
              <a:gd name="connsiteY58" fmla="*/ 4116387 h 6858000"/>
              <a:gd name="connsiteX59" fmla="*/ 1588 w 4802188"/>
              <a:gd name="connsiteY59" fmla="*/ 4048125 h 6858000"/>
              <a:gd name="connsiteX60" fmla="*/ 11113 w 4802188"/>
              <a:gd name="connsiteY60" fmla="*/ 3987800 h 6858000"/>
              <a:gd name="connsiteX61" fmla="*/ 20638 w 4802188"/>
              <a:gd name="connsiteY61" fmla="*/ 3935412 h 6858000"/>
              <a:gd name="connsiteX62" fmla="*/ 34925 w 4802188"/>
              <a:gd name="connsiteY62" fmla="*/ 3890962 h 6858000"/>
              <a:gd name="connsiteX63" fmla="*/ 52388 w 4802188"/>
              <a:gd name="connsiteY63" fmla="*/ 3848100 h 6858000"/>
              <a:gd name="connsiteX64" fmla="*/ 69850 w 4802188"/>
              <a:gd name="connsiteY64" fmla="*/ 3811587 h 6858000"/>
              <a:gd name="connsiteX65" fmla="*/ 107950 w 4802188"/>
              <a:gd name="connsiteY65" fmla="*/ 3736975 h 6858000"/>
              <a:gd name="connsiteX66" fmla="*/ 127000 w 4802188"/>
              <a:gd name="connsiteY66" fmla="*/ 3697287 h 6858000"/>
              <a:gd name="connsiteX67" fmla="*/ 142875 w 4802188"/>
              <a:gd name="connsiteY67" fmla="*/ 3656012 h 6858000"/>
              <a:gd name="connsiteX68" fmla="*/ 157163 w 4802188"/>
              <a:gd name="connsiteY68" fmla="*/ 3609975 h 6858000"/>
              <a:gd name="connsiteX69" fmla="*/ 168275 w 4802188"/>
              <a:gd name="connsiteY69" fmla="*/ 3557587 h 6858000"/>
              <a:gd name="connsiteX70" fmla="*/ 176213 w 4802188"/>
              <a:gd name="connsiteY70" fmla="*/ 3497262 h 6858000"/>
              <a:gd name="connsiteX71" fmla="*/ 179388 w 4802188"/>
              <a:gd name="connsiteY71" fmla="*/ 3427412 h 6858000"/>
              <a:gd name="connsiteX72" fmla="*/ 176213 w 4802188"/>
              <a:gd name="connsiteY72" fmla="*/ 3360737 h 6858000"/>
              <a:gd name="connsiteX73" fmla="*/ 168275 w 4802188"/>
              <a:gd name="connsiteY73" fmla="*/ 3300412 h 6858000"/>
              <a:gd name="connsiteX74" fmla="*/ 157163 w 4802188"/>
              <a:gd name="connsiteY74" fmla="*/ 3248025 h 6858000"/>
              <a:gd name="connsiteX75" fmla="*/ 142875 w 4802188"/>
              <a:gd name="connsiteY75" fmla="*/ 3201987 h 6858000"/>
              <a:gd name="connsiteX76" fmla="*/ 127000 w 4802188"/>
              <a:gd name="connsiteY76" fmla="*/ 3160712 h 6858000"/>
              <a:gd name="connsiteX77" fmla="*/ 107950 w 4802188"/>
              <a:gd name="connsiteY77" fmla="*/ 3121025 h 6858000"/>
              <a:gd name="connsiteX78" fmla="*/ 88900 w 4802188"/>
              <a:gd name="connsiteY78" fmla="*/ 3084512 h 6858000"/>
              <a:gd name="connsiteX79" fmla="*/ 69850 w 4802188"/>
              <a:gd name="connsiteY79" fmla="*/ 3046412 h 6858000"/>
              <a:gd name="connsiteX80" fmla="*/ 52388 w 4802188"/>
              <a:gd name="connsiteY80" fmla="*/ 3009900 h 6858000"/>
              <a:gd name="connsiteX81" fmla="*/ 34925 w 4802188"/>
              <a:gd name="connsiteY81" fmla="*/ 2967037 h 6858000"/>
              <a:gd name="connsiteX82" fmla="*/ 20638 w 4802188"/>
              <a:gd name="connsiteY82" fmla="*/ 2922587 h 6858000"/>
              <a:gd name="connsiteX83" fmla="*/ 11113 w 4802188"/>
              <a:gd name="connsiteY83" fmla="*/ 2868612 h 6858000"/>
              <a:gd name="connsiteX84" fmla="*/ 1588 w 4802188"/>
              <a:gd name="connsiteY84" fmla="*/ 2809875 h 6858000"/>
              <a:gd name="connsiteX85" fmla="*/ 0 w 4802188"/>
              <a:gd name="connsiteY85" fmla="*/ 2741612 h 6858000"/>
              <a:gd name="connsiteX86" fmla="*/ 1588 w 4802188"/>
              <a:gd name="connsiteY86" fmla="*/ 2671762 h 6858000"/>
              <a:gd name="connsiteX87" fmla="*/ 11113 w 4802188"/>
              <a:gd name="connsiteY87" fmla="*/ 2613025 h 6858000"/>
              <a:gd name="connsiteX88" fmla="*/ 20638 w 4802188"/>
              <a:gd name="connsiteY88" fmla="*/ 2560637 h 6858000"/>
              <a:gd name="connsiteX89" fmla="*/ 34925 w 4802188"/>
              <a:gd name="connsiteY89" fmla="*/ 2513012 h 6858000"/>
              <a:gd name="connsiteX90" fmla="*/ 52388 w 4802188"/>
              <a:gd name="connsiteY90" fmla="*/ 2471737 h 6858000"/>
              <a:gd name="connsiteX91" fmla="*/ 69850 w 4802188"/>
              <a:gd name="connsiteY91" fmla="*/ 2433637 h 6858000"/>
              <a:gd name="connsiteX92" fmla="*/ 88900 w 4802188"/>
              <a:gd name="connsiteY92" fmla="*/ 2395537 h 6858000"/>
              <a:gd name="connsiteX93" fmla="*/ 107950 w 4802188"/>
              <a:gd name="connsiteY93" fmla="*/ 2359025 h 6858000"/>
              <a:gd name="connsiteX94" fmla="*/ 127000 w 4802188"/>
              <a:gd name="connsiteY94" fmla="*/ 2319337 h 6858000"/>
              <a:gd name="connsiteX95" fmla="*/ 142875 w 4802188"/>
              <a:gd name="connsiteY95" fmla="*/ 2278062 h 6858000"/>
              <a:gd name="connsiteX96" fmla="*/ 157163 w 4802188"/>
              <a:gd name="connsiteY96" fmla="*/ 2232025 h 6858000"/>
              <a:gd name="connsiteX97" fmla="*/ 168275 w 4802188"/>
              <a:gd name="connsiteY97" fmla="*/ 2179637 h 6858000"/>
              <a:gd name="connsiteX98" fmla="*/ 176213 w 4802188"/>
              <a:gd name="connsiteY98" fmla="*/ 2119312 h 6858000"/>
              <a:gd name="connsiteX99" fmla="*/ 179388 w 4802188"/>
              <a:gd name="connsiteY99" fmla="*/ 2051050 h 6858000"/>
              <a:gd name="connsiteX100" fmla="*/ 176213 w 4802188"/>
              <a:gd name="connsiteY100" fmla="*/ 1982787 h 6858000"/>
              <a:gd name="connsiteX101" fmla="*/ 168275 w 4802188"/>
              <a:gd name="connsiteY101" fmla="*/ 1922462 h 6858000"/>
              <a:gd name="connsiteX102" fmla="*/ 157163 w 4802188"/>
              <a:gd name="connsiteY102" fmla="*/ 1870075 h 6858000"/>
              <a:gd name="connsiteX103" fmla="*/ 142875 w 4802188"/>
              <a:gd name="connsiteY103" fmla="*/ 1824037 h 6858000"/>
              <a:gd name="connsiteX104" fmla="*/ 127000 w 4802188"/>
              <a:gd name="connsiteY104" fmla="*/ 1782762 h 6858000"/>
              <a:gd name="connsiteX105" fmla="*/ 107950 w 4802188"/>
              <a:gd name="connsiteY105" fmla="*/ 1743075 h 6858000"/>
              <a:gd name="connsiteX106" fmla="*/ 88900 w 4802188"/>
              <a:gd name="connsiteY106" fmla="*/ 1708150 h 6858000"/>
              <a:gd name="connsiteX107" fmla="*/ 69850 w 4802188"/>
              <a:gd name="connsiteY107" fmla="*/ 1671637 h 6858000"/>
              <a:gd name="connsiteX108" fmla="*/ 52388 w 4802188"/>
              <a:gd name="connsiteY108" fmla="*/ 1631950 h 6858000"/>
              <a:gd name="connsiteX109" fmla="*/ 34925 w 4802188"/>
              <a:gd name="connsiteY109" fmla="*/ 1589087 h 6858000"/>
              <a:gd name="connsiteX110" fmla="*/ 20638 w 4802188"/>
              <a:gd name="connsiteY110" fmla="*/ 1544637 h 6858000"/>
              <a:gd name="connsiteX111" fmla="*/ 11113 w 4802188"/>
              <a:gd name="connsiteY111" fmla="*/ 1492250 h 6858000"/>
              <a:gd name="connsiteX112" fmla="*/ 1588 w 4802188"/>
              <a:gd name="connsiteY112" fmla="*/ 1431925 h 6858000"/>
              <a:gd name="connsiteX113" fmla="*/ 0 w 4802188"/>
              <a:gd name="connsiteY113" fmla="*/ 1363662 h 6858000"/>
              <a:gd name="connsiteX114" fmla="*/ 1588 w 4802188"/>
              <a:gd name="connsiteY114" fmla="*/ 1295400 h 6858000"/>
              <a:gd name="connsiteX115" fmla="*/ 11113 w 4802188"/>
              <a:gd name="connsiteY115" fmla="*/ 1235075 h 6858000"/>
              <a:gd name="connsiteX116" fmla="*/ 20638 w 4802188"/>
              <a:gd name="connsiteY116" fmla="*/ 1182687 h 6858000"/>
              <a:gd name="connsiteX117" fmla="*/ 34925 w 4802188"/>
              <a:gd name="connsiteY117" fmla="*/ 1136650 h 6858000"/>
              <a:gd name="connsiteX118" fmla="*/ 52388 w 4802188"/>
              <a:gd name="connsiteY118" fmla="*/ 1095375 h 6858000"/>
              <a:gd name="connsiteX119" fmla="*/ 69850 w 4802188"/>
              <a:gd name="connsiteY119" fmla="*/ 1055687 h 6858000"/>
              <a:gd name="connsiteX120" fmla="*/ 88900 w 4802188"/>
              <a:gd name="connsiteY120" fmla="*/ 1017587 h 6858000"/>
              <a:gd name="connsiteX121" fmla="*/ 107950 w 4802188"/>
              <a:gd name="connsiteY121" fmla="*/ 981075 h 6858000"/>
              <a:gd name="connsiteX122" fmla="*/ 127000 w 4802188"/>
              <a:gd name="connsiteY122" fmla="*/ 942975 h 6858000"/>
              <a:gd name="connsiteX123" fmla="*/ 142875 w 4802188"/>
              <a:gd name="connsiteY123" fmla="*/ 901700 h 6858000"/>
              <a:gd name="connsiteX124" fmla="*/ 157163 w 4802188"/>
              <a:gd name="connsiteY124" fmla="*/ 854075 h 6858000"/>
              <a:gd name="connsiteX125" fmla="*/ 168275 w 4802188"/>
              <a:gd name="connsiteY125" fmla="*/ 801687 h 6858000"/>
              <a:gd name="connsiteX126" fmla="*/ 176213 w 4802188"/>
              <a:gd name="connsiteY126" fmla="*/ 744537 h 6858000"/>
              <a:gd name="connsiteX127" fmla="*/ 179388 w 4802188"/>
              <a:gd name="connsiteY127" fmla="*/ 673100 h 6858000"/>
              <a:gd name="connsiteX128" fmla="*/ 176213 w 4802188"/>
              <a:gd name="connsiteY128" fmla="*/ 606425 h 6858000"/>
              <a:gd name="connsiteX129" fmla="*/ 168275 w 4802188"/>
              <a:gd name="connsiteY129" fmla="*/ 546100 h 6858000"/>
              <a:gd name="connsiteX130" fmla="*/ 157163 w 4802188"/>
              <a:gd name="connsiteY130" fmla="*/ 496887 h 6858000"/>
              <a:gd name="connsiteX131" fmla="*/ 142875 w 4802188"/>
              <a:gd name="connsiteY131" fmla="*/ 450850 h 6858000"/>
              <a:gd name="connsiteX132" fmla="*/ 127000 w 4802188"/>
              <a:gd name="connsiteY132" fmla="*/ 409575 h 6858000"/>
              <a:gd name="connsiteX133" fmla="*/ 109538 w 4802188"/>
              <a:gd name="connsiteY133" fmla="*/ 369887 h 6858000"/>
              <a:gd name="connsiteX134" fmla="*/ 92075 w 4802188"/>
              <a:gd name="connsiteY134" fmla="*/ 334962 h 6858000"/>
              <a:gd name="connsiteX135" fmla="*/ 73025 w 4802188"/>
              <a:gd name="connsiteY135" fmla="*/ 296862 h 6858000"/>
              <a:gd name="connsiteX136" fmla="*/ 53975 w 4802188"/>
              <a:gd name="connsiteY136" fmla="*/ 260350 h 6858000"/>
              <a:gd name="connsiteX137" fmla="*/ 38100 w 4802188"/>
              <a:gd name="connsiteY137" fmla="*/ 217487 h 6858000"/>
              <a:gd name="connsiteX138" fmla="*/ 22225 w 4802188"/>
              <a:gd name="connsiteY138" fmla="*/ 174625 h 6858000"/>
              <a:gd name="connsiteX139" fmla="*/ 12700 w 4802188"/>
              <a:gd name="connsiteY139" fmla="*/ 122237 h 6858000"/>
              <a:gd name="connsiteX140" fmla="*/ 4763 w 4802188"/>
              <a:gd name="connsiteY140" fmla="*/ 666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</a:cxnLst>
            <a:rect l="l" t="t" r="r" b="b"/>
            <a:pathLst>
              <a:path w="4802188" h="6858000">
                <a:moveTo>
                  <a:pt x="0" y="0"/>
                </a:moveTo>
                <a:lnTo>
                  <a:pt x="4802188" y="0"/>
                </a:lnTo>
                <a:lnTo>
                  <a:pt x="4802188" y="6858000"/>
                </a:lnTo>
                <a:lnTo>
                  <a:pt x="0" y="6858000"/>
                </a:lnTo>
                <a:lnTo>
                  <a:pt x="4763" y="6791325"/>
                </a:lnTo>
                <a:lnTo>
                  <a:pt x="12700" y="6735762"/>
                </a:lnTo>
                <a:lnTo>
                  <a:pt x="22225" y="6683375"/>
                </a:lnTo>
                <a:lnTo>
                  <a:pt x="38100" y="6640512"/>
                </a:lnTo>
                <a:lnTo>
                  <a:pt x="53975" y="6597650"/>
                </a:lnTo>
                <a:lnTo>
                  <a:pt x="73025" y="6561137"/>
                </a:lnTo>
                <a:lnTo>
                  <a:pt x="92075" y="6523037"/>
                </a:lnTo>
                <a:lnTo>
                  <a:pt x="109538" y="6488112"/>
                </a:lnTo>
                <a:lnTo>
                  <a:pt x="127000" y="6448425"/>
                </a:lnTo>
                <a:lnTo>
                  <a:pt x="142875" y="6407150"/>
                </a:lnTo>
                <a:lnTo>
                  <a:pt x="157163" y="6361112"/>
                </a:lnTo>
                <a:lnTo>
                  <a:pt x="168275" y="6311900"/>
                </a:lnTo>
                <a:lnTo>
                  <a:pt x="176213" y="6251575"/>
                </a:lnTo>
                <a:lnTo>
                  <a:pt x="179388" y="6183312"/>
                </a:lnTo>
                <a:lnTo>
                  <a:pt x="176213" y="6113462"/>
                </a:lnTo>
                <a:lnTo>
                  <a:pt x="168275" y="6056312"/>
                </a:lnTo>
                <a:lnTo>
                  <a:pt x="157163" y="6003925"/>
                </a:lnTo>
                <a:lnTo>
                  <a:pt x="142875" y="5956300"/>
                </a:lnTo>
                <a:lnTo>
                  <a:pt x="127000" y="5915025"/>
                </a:lnTo>
                <a:lnTo>
                  <a:pt x="107950" y="5876925"/>
                </a:lnTo>
                <a:lnTo>
                  <a:pt x="88900" y="5840412"/>
                </a:lnTo>
                <a:lnTo>
                  <a:pt x="69850" y="5802312"/>
                </a:lnTo>
                <a:lnTo>
                  <a:pt x="52388" y="5762625"/>
                </a:lnTo>
                <a:lnTo>
                  <a:pt x="34925" y="5721350"/>
                </a:lnTo>
                <a:lnTo>
                  <a:pt x="20638" y="5675312"/>
                </a:lnTo>
                <a:lnTo>
                  <a:pt x="11113" y="5622925"/>
                </a:lnTo>
                <a:lnTo>
                  <a:pt x="1588" y="5562600"/>
                </a:lnTo>
                <a:lnTo>
                  <a:pt x="0" y="5494337"/>
                </a:lnTo>
                <a:lnTo>
                  <a:pt x="1588" y="5426075"/>
                </a:lnTo>
                <a:lnTo>
                  <a:pt x="11113" y="5365750"/>
                </a:lnTo>
                <a:lnTo>
                  <a:pt x="20638" y="5313362"/>
                </a:lnTo>
                <a:lnTo>
                  <a:pt x="34925" y="5268912"/>
                </a:lnTo>
                <a:lnTo>
                  <a:pt x="52388" y="5226050"/>
                </a:lnTo>
                <a:lnTo>
                  <a:pt x="69850" y="5186362"/>
                </a:lnTo>
                <a:lnTo>
                  <a:pt x="88900" y="5149850"/>
                </a:lnTo>
                <a:lnTo>
                  <a:pt x="107950" y="5114925"/>
                </a:lnTo>
                <a:lnTo>
                  <a:pt x="127000" y="5075237"/>
                </a:lnTo>
                <a:lnTo>
                  <a:pt x="142875" y="5033962"/>
                </a:lnTo>
                <a:lnTo>
                  <a:pt x="157163" y="4987925"/>
                </a:lnTo>
                <a:lnTo>
                  <a:pt x="168275" y="4935537"/>
                </a:lnTo>
                <a:lnTo>
                  <a:pt x="176213" y="4875212"/>
                </a:lnTo>
                <a:lnTo>
                  <a:pt x="179388" y="4806950"/>
                </a:lnTo>
                <a:lnTo>
                  <a:pt x="176213" y="4738687"/>
                </a:lnTo>
                <a:lnTo>
                  <a:pt x="168275" y="4678362"/>
                </a:lnTo>
                <a:lnTo>
                  <a:pt x="157163" y="4625975"/>
                </a:lnTo>
                <a:lnTo>
                  <a:pt x="142875" y="4579937"/>
                </a:lnTo>
                <a:lnTo>
                  <a:pt x="127000" y="4537075"/>
                </a:lnTo>
                <a:lnTo>
                  <a:pt x="107950" y="4498975"/>
                </a:lnTo>
                <a:lnTo>
                  <a:pt x="69850" y="4424362"/>
                </a:lnTo>
                <a:lnTo>
                  <a:pt x="52388" y="4386262"/>
                </a:lnTo>
                <a:lnTo>
                  <a:pt x="34925" y="4343400"/>
                </a:lnTo>
                <a:lnTo>
                  <a:pt x="20638" y="4297362"/>
                </a:lnTo>
                <a:lnTo>
                  <a:pt x="11113" y="4244975"/>
                </a:lnTo>
                <a:lnTo>
                  <a:pt x="1588" y="4186237"/>
                </a:lnTo>
                <a:lnTo>
                  <a:pt x="0" y="4116387"/>
                </a:lnTo>
                <a:lnTo>
                  <a:pt x="1588" y="4048125"/>
                </a:lnTo>
                <a:lnTo>
                  <a:pt x="11113" y="3987800"/>
                </a:lnTo>
                <a:lnTo>
                  <a:pt x="20638" y="3935412"/>
                </a:lnTo>
                <a:lnTo>
                  <a:pt x="34925" y="3890962"/>
                </a:lnTo>
                <a:lnTo>
                  <a:pt x="52388" y="3848100"/>
                </a:lnTo>
                <a:lnTo>
                  <a:pt x="69850" y="3811587"/>
                </a:lnTo>
                <a:lnTo>
                  <a:pt x="107950" y="3736975"/>
                </a:lnTo>
                <a:lnTo>
                  <a:pt x="127000" y="3697287"/>
                </a:lnTo>
                <a:lnTo>
                  <a:pt x="142875" y="3656012"/>
                </a:lnTo>
                <a:lnTo>
                  <a:pt x="157163" y="3609975"/>
                </a:lnTo>
                <a:lnTo>
                  <a:pt x="168275" y="3557587"/>
                </a:lnTo>
                <a:lnTo>
                  <a:pt x="176213" y="3497262"/>
                </a:lnTo>
                <a:lnTo>
                  <a:pt x="179388" y="3427412"/>
                </a:lnTo>
                <a:lnTo>
                  <a:pt x="176213" y="3360737"/>
                </a:lnTo>
                <a:lnTo>
                  <a:pt x="168275" y="3300412"/>
                </a:lnTo>
                <a:lnTo>
                  <a:pt x="157163" y="3248025"/>
                </a:lnTo>
                <a:lnTo>
                  <a:pt x="142875" y="3201987"/>
                </a:lnTo>
                <a:lnTo>
                  <a:pt x="127000" y="3160712"/>
                </a:lnTo>
                <a:lnTo>
                  <a:pt x="107950" y="3121025"/>
                </a:lnTo>
                <a:lnTo>
                  <a:pt x="88900" y="3084512"/>
                </a:lnTo>
                <a:lnTo>
                  <a:pt x="69850" y="3046412"/>
                </a:lnTo>
                <a:lnTo>
                  <a:pt x="52388" y="3009900"/>
                </a:lnTo>
                <a:lnTo>
                  <a:pt x="34925" y="2967037"/>
                </a:lnTo>
                <a:lnTo>
                  <a:pt x="20638" y="2922587"/>
                </a:lnTo>
                <a:lnTo>
                  <a:pt x="11113" y="2868612"/>
                </a:lnTo>
                <a:lnTo>
                  <a:pt x="1588" y="2809875"/>
                </a:lnTo>
                <a:lnTo>
                  <a:pt x="0" y="2741612"/>
                </a:lnTo>
                <a:lnTo>
                  <a:pt x="1588" y="2671762"/>
                </a:lnTo>
                <a:lnTo>
                  <a:pt x="11113" y="2613025"/>
                </a:lnTo>
                <a:lnTo>
                  <a:pt x="20638" y="2560637"/>
                </a:lnTo>
                <a:lnTo>
                  <a:pt x="34925" y="2513012"/>
                </a:lnTo>
                <a:lnTo>
                  <a:pt x="52388" y="2471737"/>
                </a:lnTo>
                <a:lnTo>
                  <a:pt x="69850" y="2433637"/>
                </a:lnTo>
                <a:lnTo>
                  <a:pt x="88900" y="2395537"/>
                </a:lnTo>
                <a:lnTo>
                  <a:pt x="107950" y="2359025"/>
                </a:lnTo>
                <a:lnTo>
                  <a:pt x="127000" y="2319337"/>
                </a:lnTo>
                <a:lnTo>
                  <a:pt x="142875" y="2278062"/>
                </a:lnTo>
                <a:lnTo>
                  <a:pt x="157163" y="2232025"/>
                </a:lnTo>
                <a:lnTo>
                  <a:pt x="168275" y="2179637"/>
                </a:lnTo>
                <a:lnTo>
                  <a:pt x="176213" y="2119312"/>
                </a:lnTo>
                <a:lnTo>
                  <a:pt x="179388" y="2051050"/>
                </a:lnTo>
                <a:lnTo>
                  <a:pt x="176213" y="1982787"/>
                </a:lnTo>
                <a:lnTo>
                  <a:pt x="168275" y="1922462"/>
                </a:lnTo>
                <a:lnTo>
                  <a:pt x="157163" y="1870075"/>
                </a:lnTo>
                <a:lnTo>
                  <a:pt x="142875" y="1824037"/>
                </a:lnTo>
                <a:lnTo>
                  <a:pt x="127000" y="1782762"/>
                </a:lnTo>
                <a:lnTo>
                  <a:pt x="107950" y="1743075"/>
                </a:lnTo>
                <a:lnTo>
                  <a:pt x="88900" y="1708150"/>
                </a:lnTo>
                <a:lnTo>
                  <a:pt x="69850" y="1671637"/>
                </a:lnTo>
                <a:lnTo>
                  <a:pt x="52388" y="1631950"/>
                </a:lnTo>
                <a:lnTo>
                  <a:pt x="34925" y="1589087"/>
                </a:lnTo>
                <a:lnTo>
                  <a:pt x="20638" y="1544637"/>
                </a:lnTo>
                <a:lnTo>
                  <a:pt x="11113" y="1492250"/>
                </a:lnTo>
                <a:lnTo>
                  <a:pt x="1588" y="1431925"/>
                </a:lnTo>
                <a:lnTo>
                  <a:pt x="0" y="1363662"/>
                </a:lnTo>
                <a:lnTo>
                  <a:pt x="1588" y="1295400"/>
                </a:lnTo>
                <a:lnTo>
                  <a:pt x="11113" y="1235075"/>
                </a:lnTo>
                <a:lnTo>
                  <a:pt x="20638" y="1182687"/>
                </a:lnTo>
                <a:lnTo>
                  <a:pt x="34925" y="1136650"/>
                </a:lnTo>
                <a:lnTo>
                  <a:pt x="52388" y="1095375"/>
                </a:lnTo>
                <a:lnTo>
                  <a:pt x="69850" y="1055687"/>
                </a:lnTo>
                <a:lnTo>
                  <a:pt x="88900" y="1017587"/>
                </a:lnTo>
                <a:lnTo>
                  <a:pt x="107950" y="981075"/>
                </a:lnTo>
                <a:lnTo>
                  <a:pt x="127000" y="942975"/>
                </a:lnTo>
                <a:lnTo>
                  <a:pt x="142875" y="901700"/>
                </a:lnTo>
                <a:lnTo>
                  <a:pt x="157163" y="854075"/>
                </a:lnTo>
                <a:lnTo>
                  <a:pt x="168275" y="801687"/>
                </a:lnTo>
                <a:lnTo>
                  <a:pt x="176213" y="744537"/>
                </a:lnTo>
                <a:lnTo>
                  <a:pt x="179388" y="673100"/>
                </a:lnTo>
                <a:lnTo>
                  <a:pt x="176213" y="606425"/>
                </a:lnTo>
                <a:lnTo>
                  <a:pt x="168275" y="546100"/>
                </a:lnTo>
                <a:lnTo>
                  <a:pt x="157163" y="496887"/>
                </a:lnTo>
                <a:lnTo>
                  <a:pt x="142875" y="450850"/>
                </a:lnTo>
                <a:lnTo>
                  <a:pt x="127000" y="409575"/>
                </a:lnTo>
                <a:lnTo>
                  <a:pt x="109538" y="369887"/>
                </a:lnTo>
                <a:lnTo>
                  <a:pt x="92075" y="334962"/>
                </a:lnTo>
                <a:lnTo>
                  <a:pt x="73025" y="296862"/>
                </a:lnTo>
                <a:lnTo>
                  <a:pt x="53975" y="260350"/>
                </a:lnTo>
                <a:lnTo>
                  <a:pt x="38100" y="217487"/>
                </a:lnTo>
                <a:lnTo>
                  <a:pt x="22225" y="174625"/>
                </a:lnTo>
                <a:lnTo>
                  <a:pt x="12700" y="122237"/>
                </a:lnTo>
                <a:lnTo>
                  <a:pt x="4763" y="66675"/>
                </a:lnTo>
                <a:close/>
              </a:path>
            </a:pathLst>
          </a:custGeom>
          <a:solidFill>
            <a:schemeClr val="accent1">
              <a:lumMod val="50000"/>
              <a:alpha val="2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wrap="square" rtlCol="0" anchor="ctr">
            <a:noAutofit/>
          </a:bodyPr>
          <a:lstStyle/>
          <a:p>
            <a:pPr algn="ctr" defTabSz="4572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740D8E28-91B5-42B0-9D6C-B777D8AD90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7713579" cy="6858000"/>
          </a:xfrm>
          <a:custGeom>
            <a:avLst/>
            <a:gdLst>
              <a:gd name="connsiteX0" fmla="*/ 0 w 7713579"/>
              <a:gd name="connsiteY0" fmla="*/ 0 h 6858000"/>
              <a:gd name="connsiteX1" fmla="*/ 7534191 w 7713579"/>
              <a:gd name="connsiteY1" fmla="*/ 0 h 6858000"/>
              <a:gd name="connsiteX2" fmla="*/ 7538954 w 7713579"/>
              <a:gd name="connsiteY2" fmla="*/ 66675 h 6858000"/>
              <a:gd name="connsiteX3" fmla="*/ 7546891 w 7713579"/>
              <a:gd name="connsiteY3" fmla="*/ 122237 h 6858000"/>
              <a:gd name="connsiteX4" fmla="*/ 7556416 w 7713579"/>
              <a:gd name="connsiteY4" fmla="*/ 174625 h 6858000"/>
              <a:gd name="connsiteX5" fmla="*/ 7572291 w 7713579"/>
              <a:gd name="connsiteY5" fmla="*/ 217487 h 6858000"/>
              <a:gd name="connsiteX6" fmla="*/ 7588166 w 7713579"/>
              <a:gd name="connsiteY6" fmla="*/ 260350 h 6858000"/>
              <a:gd name="connsiteX7" fmla="*/ 7607216 w 7713579"/>
              <a:gd name="connsiteY7" fmla="*/ 296862 h 6858000"/>
              <a:gd name="connsiteX8" fmla="*/ 7626266 w 7713579"/>
              <a:gd name="connsiteY8" fmla="*/ 334962 h 6858000"/>
              <a:gd name="connsiteX9" fmla="*/ 7643729 w 7713579"/>
              <a:gd name="connsiteY9" fmla="*/ 369887 h 6858000"/>
              <a:gd name="connsiteX10" fmla="*/ 7661191 w 7713579"/>
              <a:gd name="connsiteY10" fmla="*/ 409575 h 6858000"/>
              <a:gd name="connsiteX11" fmla="*/ 7677066 w 7713579"/>
              <a:gd name="connsiteY11" fmla="*/ 450850 h 6858000"/>
              <a:gd name="connsiteX12" fmla="*/ 7691354 w 7713579"/>
              <a:gd name="connsiteY12" fmla="*/ 496887 h 6858000"/>
              <a:gd name="connsiteX13" fmla="*/ 7702466 w 7713579"/>
              <a:gd name="connsiteY13" fmla="*/ 546100 h 6858000"/>
              <a:gd name="connsiteX14" fmla="*/ 7710404 w 7713579"/>
              <a:gd name="connsiteY14" fmla="*/ 606425 h 6858000"/>
              <a:gd name="connsiteX15" fmla="*/ 7713579 w 7713579"/>
              <a:gd name="connsiteY15" fmla="*/ 673100 h 6858000"/>
              <a:gd name="connsiteX16" fmla="*/ 7710404 w 7713579"/>
              <a:gd name="connsiteY16" fmla="*/ 744537 h 6858000"/>
              <a:gd name="connsiteX17" fmla="*/ 7702466 w 7713579"/>
              <a:gd name="connsiteY17" fmla="*/ 801687 h 6858000"/>
              <a:gd name="connsiteX18" fmla="*/ 7691354 w 7713579"/>
              <a:gd name="connsiteY18" fmla="*/ 854075 h 6858000"/>
              <a:gd name="connsiteX19" fmla="*/ 7677066 w 7713579"/>
              <a:gd name="connsiteY19" fmla="*/ 901700 h 6858000"/>
              <a:gd name="connsiteX20" fmla="*/ 7661191 w 7713579"/>
              <a:gd name="connsiteY20" fmla="*/ 942975 h 6858000"/>
              <a:gd name="connsiteX21" fmla="*/ 7642141 w 7713579"/>
              <a:gd name="connsiteY21" fmla="*/ 981075 h 6858000"/>
              <a:gd name="connsiteX22" fmla="*/ 7623091 w 7713579"/>
              <a:gd name="connsiteY22" fmla="*/ 1017587 h 6858000"/>
              <a:gd name="connsiteX23" fmla="*/ 7604041 w 7713579"/>
              <a:gd name="connsiteY23" fmla="*/ 1055687 h 6858000"/>
              <a:gd name="connsiteX24" fmla="*/ 7586579 w 7713579"/>
              <a:gd name="connsiteY24" fmla="*/ 1095375 h 6858000"/>
              <a:gd name="connsiteX25" fmla="*/ 7569116 w 7713579"/>
              <a:gd name="connsiteY25" fmla="*/ 1136650 h 6858000"/>
              <a:gd name="connsiteX26" fmla="*/ 7554829 w 7713579"/>
              <a:gd name="connsiteY26" fmla="*/ 1182687 h 6858000"/>
              <a:gd name="connsiteX27" fmla="*/ 7545304 w 7713579"/>
              <a:gd name="connsiteY27" fmla="*/ 1235075 h 6858000"/>
              <a:gd name="connsiteX28" fmla="*/ 7535779 w 7713579"/>
              <a:gd name="connsiteY28" fmla="*/ 1295400 h 6858000"/>
              <a:gd name="connsiteX29" fmla="*/ 7534191 w 7713579"/>
              <a:gd name="connsiteY29" fmla="*/ 1363662 h 6858000"/>
              <a:gd name="connsiteX30" fmla="*/ 7535779 w 7713579"/>
              <a:gd name="connsiteY30" fmla="*/ 1431925 h 6858000"/>
              <a:gd name="connsiteX31" fmla="*/ 7545304 w 7713579"/>
              <a:gd name="connsiteY31" fmla="*/ 1492250 h 6858000"/>
              <a:gd name="connsiteX32" fmla="*/ 7554829 w 7713579"/>
              <a:gd name="connsiteY32" fmla="*/ 1544637 h 6858000"/>
              <a:gd name="connsiteX33" fmla="*/ 7569116 w 7713579"/>
              <a:gd name="connsiteY33" fmla="*/ 1589087 h 6858000"/>
              <a:gd name="connsiteX34" fmla="*/ 7586579 w 7713579"/>
              <a:gd name="connsiteY34" fmla="*/ 1631950 h 6858000"/>
              <a:gd name="connsiteX35" fmla="*/ 7604041 w 7713579"/>
              <a:gd name="connsiteY35" fmla="*/ 1671637 h 6858000"/>
              <a:gd name="connsiteX36" fmla="*/ 7623091 w 7713579"/>
              <a:gd name="connsiteY36" fmla="*/ 1708150 h 6858000"/>
              <a:gd name="connsiteX37" fmla="*/ 7642141 w 7713579"/>
              <a:gd name="connsiteY37" fmla="*/ 1743075 h 6858000"/>
              <a:gd name="connsiteX38" fmla="*/ 7661191 w 7713579"/>
              <a:gd name="connsiteY38" fmla="*/ 1782762 h 6858000"/>
              <a:gd name="connsiteX39" fmla="*/ 7677066 w 7713579"/>
              <a:gd name="connsiteY39" fmla="*/ 1824037 h 6858000"/>
              <a:gd name="connsiteX40" fmla="*/ 7691354 w 7713579"/>
              <a:gd name="connsiteY40" fmla="*/ 1870075 h 6858000"/>
              <a:gd name="connsiteX41" fmla="*/ 7702466 w 7713579"/>
              <a:gd name="connsiteY41" fmla="*/ 1922462 h 6858000"/>
              <a:gd name="connsiteX42" fmla="*/ 7710404 w 7713579"/>
              <a:gd name="connsiteY42" fmla="*/ 1982787 h 6858000"/>
              <a:gd name="connsiteX43" fmla="*/ 7713579 w 7713579"/>
              <a:gd name="connsiteY43" fmla="*/ 2051050 h 6858000"/>
              <a:gd name="connsiteX44" fmla="*/ 7710404 w 7713579"/>
              <a:gd name="connsiteY44" fmla="*/ 2119312 h 6858000"/>
              <a:gd name="connsiteX45" fmla="*/ 7702466 w 7713579"/>
              <a:gd name="connsiteY45" fmla="*/ 2179637 h 6858000"/>
              <a:gd name="connsiteX46" fmla="*/ 7691354 w 7713579"/>
              <a:gd name="connsiteY46" fmla="*/ 2232025 h 6858000"/>
              <a:gd name="connsiteX47" fmla="*/ 7677066 w 7713579"/>
              <a:gd name="connsiteY47" fmla="*/ 2278062 h 6858000"/>
              <a:gd name="connsiteX48" fmla="*/ 7661191 w 7713579"/>
              <a:gd name="connsiteY48" fmla="*/ 2319337 h 6858000"/>
              <a:gd name="connsiteX49" fmla="*/ 7642141 w 7713579"/>
              <a:gd name="connsiteY49" fmla="*/ 2359025 h 6858000"/>
              <a:gd name="connsiteX50" fmla="*/ 7623091 w 7713579"/>
              <a:gd name="connsiteY50" fmla="*/ 2395537 h 6858000"/>
              <a:gd name="connsiteX51" fmla="*/ 7604041 w 7713579"/>
              <a:gd name="connsiteY51" fmla="*/ 2433637 h 6858000"/>
              <a:gd name="connsiteX52" fmla="*/ 7586579 w 7713579"/>
              <a:gd name="connsiteY52" fmla="*/ 2471737 h 6858000"/>
              <a:gd name="connsiteX53" fmla="*/ 7569116 w 7713579"/>
              <a:gd name="connsiteY53" fmla="*/ 2513012 h 6858000"/>
              <a:gd name="connsiteX54" fmla="*/ 7554829 w 7713579"/>
              <a:gd name="connsiteY54" fmla="*/ 2560637 h 6858000"/>
              <a:gd name="connsiteX55" fmla="*/ 7545304 w 7713579"/>
              <a:gd name="connsiteY55" fmla="*/ 2613025 h 6858000"/>
              <a:gd name="connsiteX56" fmla="*/ 7535779 w 7713579"/>
              <a:gd name="connsiteY56" fmla="*/ 2671762 h 6858000"/>
              <a:gd name="connsiteX57" fmla="*/ 7534191 w 7713579"/>
              <a:gd name="connsiteY57" fmla="*/ 2741612 h 6858000"/>
              <a:gd name="connsiteX58" fmla="*/ 7535779 w 7713579"/>
              <a:gd name="connsiteY58" fmla="*/ 2809875 h 6858000"/>
              <a:gd name="connsiteX59" fmla="*/ 7545304 w 7713579"/>
              <a:gd name="connsiteY59" fmla="*/ 2868612 h 6858000"/>
              <a:gd name="connsiteX60" fmla="*/ 7554829 w 7713579"/>
              <a:gd name="connsiteY60" fmla="*/ 2922587 h 6858000"/>
              <a:gd name="connsiteX61" fmla="*/ 7569116 w 7713579"/>
              <a:gd name="connsiteY61" fmla="*/ 2967037 h 6858000"/>
              <a:gd name="connsiteX62" fmla="*/ 7586579 w 7713579"/>
              <a:gd name="connsiteY62" fmla="*/ 3009900 h 6858000"/>
              <a:gd name="connsiteX63" fmla="*/ 7604041 w 7713579"/>
              <a:gd name="connsiteY63" fmla="*/ 3046412 h 6858000"/>
              <a:gd name="connsiteX64" fmla="*/ 7623091 w 7713579"/>
              <a:gd name="connsiteY64" fmla="*/ 3084512 h 6858000"/>
              <a:gd name="connsiteX65" fmla="*/ 7642141 w 7713579"/>
              <a:gd name="connsiteY65" fmla="*/ 3121025 h 6858000"/>
              <a:gd name="connsiteX66" fmla="*/ 7661191 w 7713579"/>
              <a:gd name="connsiteY66" fmla="*/ 3160712 h 6858000"/>
              <a:gd name="connsiteX67" fmla="*/ 7677066 w 7713579"/>
              <a:gd name="connsiteY67" fmla="*/ 3201987 h 6858000"/>
              <a:gd name="connsiteX68" fmla="*/ 7691354 w 7713579"/>
              <a:gd name="connsiteY68" fmla="*/ 3248025 h 6858000"/>
              <a:gd name="connsiteX69" fmla="*/ 7702466 w 7713579"/>
              <a:gd name="connsiteY69" fmla="*/ 3300412 h 6858000"/>
              <a:gd name="connsiteX70" fmla="*/ 7710404 w 7713579"/>
              <a:gd name="connsiteY70" fmla="*/ 3360737 h 6858000"/>
              <a:gd name="connsiteX71" fmla="*/ 7713579 w 7713579"/>
              <a:gd name="connsiteY71" fmla="*/ 3427412 h 6858000"/>
              <a:gd name="connsiteX72" fmla="*/ 7710404 w 7713579"/>
              <a:gd name="connsiteY72" fmla="*/ 3497262 h 6858000"/>
              <a:gd name="connsiteX73" fmla="*/ 7702466 w 7713579"/>
              <a:gd name="connsiteY73" fmla="*/ 3557587 h 6858000"/>
              <a:gd name="connsiteX74" fmla="*/ 7691354 w 7713579"/>
              <a:gd name="connsiteY74" fmla="*/ 3609975 h 6858000"/>
              <a:gd name="connsiteX75" fmla="*/ 7677066 w 7713579"/>
              <a:gd name="connsiteY75" fmla="*/ 3656012 h 6858000"/>
              <a:gd name="connsiteX76" fmla="*/ 7661191 w 7713579"/>
              <a:gd name="connsiteY76" fmla="*/ 3697287 h 6858000"/>
              <a:gd name="connsiteX77" fmla="*/ 7642141 w 7713579"/>
              <a:gd name="connsiteY77" fmla="*/ 3736975 h 6858000"/>
              <a:gd name="connsiteX78" fmla="*/ 7604041 w 7713579"/>
              <a:gd name="connsiteY78" fmla="*/ 3811587 h 6858000"/>
              <a:gd name="connsiteX79" fmla="*/ 7586579 w 7713579"/>
              <a:gd name="connsiteY79" fmla="*/ 3848100 h 6858000"/>
              <a:gd name="connsiteX80" fmla="*/ 7569116 w 7713579"/>
              <a:gd name="connsiteY80" fmla="*/ 3890962 h 6858000"/>
              <a:gd name="connsiteX81" fmla="*/ 7554829 w 7713579"/>
              <a:gd name="connsiteY81" fmla="*/ 3935412 h 6858000"/>
              <a:gd name="connsiteX82" fmla="*/ 7545304 w 7713579"/>
              <a:gd name="connsiteY82" fmla="*/ 3987800 h 6858000"/>
              <a:gd name="connsiteX83" fmla="*/ 7535779 w 7713579"/>
              <a:gd name="connsiteY83" fmla="*/ 4048125 h 6858000"/>
              <a:gd name="connsiteX84" fmla="*/ 7534191 w 7713579"/>
              <a:gd name="connsiteY84" fmla="*/ 4116387 h 6858000"/>
              <a:gd name="connsiteX85" fmla="*/ 7535779 w 7713579"/>
              <a:gd name="connsiteY85" fmla="*/ 4186237 h 6858000"/>
              <a:gd name="connsiteX86" fmla="*/ 7545304 w 7713579"/>
              <a:gd name="connsiteY86" fmla="*/ 4244975 h 6858000"/>
              <a:gd name="connsiteX87" fmla="*/ 7554829 w 7713579"/>
              <a:gd name="connsiteY87" fmla="*/ 4297362 h 6858000"/>
              <a:gd name="connsiteX88" fmla="*/ 7569116 w 7713579"/>
              <a:gd name="connsiteY88" fmla="*/ 4343400 h 6858000"/>
              <a:gd name="connsiteX89" fmla="*/ 7586579 w 7713579"/>
              <a:gd name="connsiteY89" fmla="*/ 4386262 h 6858000"/>
              <a:gd name="connsiteX90" fmla="*/ 7604041 w 7713579"/>
              <a:gd name="connsiteY90" fmla="*/ 4424362 h 6858000"/>
              <a:gd name="connsiteX91" fmla="*/ 7642141 w 7713579"/>
              <a:gd name="connsiteY91" fmla="*/ 4498975 h 6858000"/>
              <a:gd name="connsiteX92" fmla="*/ 7661191 w 7713579"/>
              <a:gd name="connsiteY92" fmla="*/ 4537075 h 6858000"/>
              <a:gd name="connsiteX93" fmla="*/ 7677066 w 7713579"/>
              <a:gd name="connsiteY93" fmla="*/ 4579937 h 6858000"/>
              <a:gd name="connsiteX94" fmla="*/ 7691354 w 7713579"/>
              <a:gd name="connsiteY94" fmla="*/ 4625975 h 6858000"/>
              <a:gd name="connsiteX95" fmla="*/ 7702466 w 7713579"/>
              <a:gd name="connsiteY95" fmla="*/ 4678362 h 6858000"/>
              <a:gd name="connsiteX96" fmla="*/ 7710404 w 7713579"/>
              <a:gd name="connsiteY96" fmla="*/ 4738687 h 6858000"/>
              <a:gd name="connsiteX97" fmla="*/ 7713579 w 7713579"/>
              <a:gd name="connsiteY97" fmla="*/ 4806950 h 6858000"/>
              <a:gd name="connsiteX98" fmla="*/ 7710404 w 7713579"/>
              <a:gd name="connsiteY98" fmla="*/ 4875212 h 6858000"/>
              <a:gd name="connsiteX99" fmla="*/ 7702466 w 7713579"/>
              <a:gd name="connsiteY99" fmla="*/ 4935537 h 6858000"/>
              <a:gd name="connsiteX100" fmla="*/ 7691354 w 7713579"/>
              <a:gd name="connsiteY100" fmla="*/ 4987925 h 6858000"/>
              <a:gd name="connsiteX101" fmla="*/ 7677066 w 7713579"/>
              <a:gd name="connsiteY101" fmla="*/ 5033962 h 6858000"/>
              <a:gd name="connsiteX102" fmla="*/ 7661191 w 7713579"/>
              <a:gd name="connsiteY102" fmla="*/ 5075237 h 6858000"/>
              <a:gd name="connsiteX103" fmla="*/ 7642141 w 7713579"/>
              <a:gd name="connsiteY103" fmla="*/ 5114925 h 6858000"/>
              <a:gd name="connsiteX104" fmla="*/ 7623091 w 7713579"/>
              <a:gd name="connsiteY104" fmla="*/ 5149850 h 6858000"/>
              <a:gd name="connsiteX105" fmla="*/ 7604041 w 7713579"/>
              <a:gd name="connsiteY105" fmla="*/ 5186362 h 6858000"/>
              <a:gd name="connsiteX106" fmla="*/ 7586579 w 7713579"/>
              <a:gd name="connsiteY106" fmla="*/ 5226050 h 6858000"/>
              <a:gd name="connsiteX107" fmla="*/ 7569116 w 7713579"/>
              <a:gd name="connsiteY107" fmla="*/ 5268912 h 6858000"/>
              <a:gd name="connsiteX108" fmla="*/ 7554829 w 7713579"/>
              <a:gd name="connsiteY108" fmla="*/ 5313362 h 6858000"/>
              <a:gd name="connsiteX109" fmla="*/ 7545304 w 7713579"/>
              <a:gd name="connsiteY109" fmla="*/ 5365750 h 6858000"/>
              <a:gd name="connsiteX110" fmla="*/ 7535779 w 7713579"/>
              <a:gd name="connsiteY110" fmla="*/ 5426075 h 6858000"/>
              <a:gd name="connsiteX111" fmla="*/ 7534191 w 7713579"/>
              <a:gd name="connsiteY111" fmla="*/ 5494337 h 6858000"/>
              <a:gd name="connsiteX112" fmla="*/ 7535779 w 7713579"/>
              <a:gd name="connsiteY112" fmla="*/ 5562600 h 6858000"/>
              <a:gd name="connsiteX113" fmla="*/ 7545304 w 7713579"/>
              <a:gd name="connsiteY113" fmla="*/ 5622925 h 6858000"/>
              <a:gd name="connsiteX114" fmla="*/ 7554829 w 7713579"/>
              <a:gd name="connsiteY114" fmla="*/ 5675312 h 6858000"/>
              <a:gd name="connsiteX115" fmla="*/ 7569116 w 7713579"/>
              <a:gd name="connsiteY115" fmla="*/ 5721350 h 6858000"/>
              <a:gd name="connsiteX116" fmla="*/ 7586579 w 7713579"/>
              <a:gd name="connsiteY116" fmla="*/ 5762625 h 6858000"/>
              <a:gd name="connsiteX117" fmla="*/ 7604041 w 7713579"/>
              <a:gd name="connsiteY117" fmla="*/ 5802312 h 6858000"/>
              <a:gd name="connsiteX118" fmla="*/ 7623091 w 7713579"/>
              <a:gd name="connsiteY118" fmla="*/ 5840412 h 6858000"/>
              <a:gd name="connsiteX119" fmla="*/ 7642141 w 7713579"/>
              <a:gd name="connsiteY119" fmla="*/ 5876925 h 6858000"/>
              <a:gd name="connsiteX120" fmla="*/ 7661191 w 7713579"/>
              <a:gd name="connsiteY120" fmla="*/ 5915025 h 6858000"/>
              <a:gd name="connsiteX121" fmla="*/ 7677066 w 7713579"/>
              <a:gd name="connsiteY121" fmla="*/ 5956300 h 6858000"/>
              <a:gd name="connsiteX122" fmla="*/ 7691354 w 7713579"/>
              <a:gd name="connsiteY122" fmla="*/ 6003925 h 6858000"/>
              <a:gd name="connsiteX123" fmla="*/ 7702466 w 7713579"/>
              <a:gd name="connsiteY123" fmla="*/ 6056312 h 6858000"/>
              <a:gd name="connsiteX124" fmla="*/ 7710404 w 7713579"/>
              <a:gd name="connsiteY124" fmla="*/ 6113462 h 6858000"/>
              <a:gd name="connsiteX125" fmla="*/ 7713579 w 7713579"/>
              <a:gd name="connsiteY125" fmla="*/ 6183312 h 6858000"/>
              <a:gd name="connsiteX126" fmla="*/ 7710404 w 7713579"/>
              <a:gd name="connsiteY126" fmla="*/ 6251575 h 6858000"/>
              <a:gd name="connsiteX127" fmla="*/ 7702466 w 7713579"/>
              <a:gd name="connsiteY127" fmla="*/ 6311900 h 6858000"/>
              <a:gd name="connsiteX128" fmla="*/ 7691354 w 7713579"/>
              <a:gd name="connsiteY128" fmla="*/ 6361112 h 6858000"/>
              <a:gd name="connsiteX129" fmla="*/ 7677066 w 7713579"/>
              <a:gd name="connsiteY129" fmla="*/ 6407150 h 6858000"/>
              <a:gd name="connsiteX130" fmla="*/ 7661191 w 7713579"/>
              <a:gd name="connsiteY130" fmla="*/ 6448425 h 6858000"/>
              <a:gd name="connsiteX131" fmla="*/ 7643729 w 7713579"/>
              <a:gd name="connsiteY131" fmla="*/ 6488112 h 6858000"/>
              <a:gd name="connsiteX132" fmla="*/ 7626266 w 7713579"/>
              <a:gd name="connsiteY132" fmla="*/ 6523037 h 6858000"/>
              <a:gd name="connsiteX133" fmla="*/ 7607216 w 7713579"/>
              <a:gd name="connsiteY133" fmla="*/ 6561137 h 6858000"/>
              <a:gd name="connsiteX134" fmla="*/ 7588166 w 7713579"/>
              <a:gd name="connsiteY134" fmla="*/ 6597650 h 6858000"/>
              <a:gd name="connsiteX135" fmla="*/ 7572291 w 7713579"/>
              <a:gd name="connsiteY135" fmla="*/ 6640512 h 6858000"/>
              <a:gd name="connsiteX136" fmla="*/ 7556416 w 7713579"/>
              <a:gd name="connsiteY136" fmla="*/ 6683375 h 6858000"/>
              <a:gd name="connsiteX137" fmla="*/ 7546891 w 7713579"/>
              <a:gd name="connsiteY137" fmla="*/ 6735762 h 6858000"/>
              <a:gd name="connsiteX138" fmla="*/ 7538954 w 7713579"/>
              <a:gd name="connsiteY138" fmla="*/ 6791325 h 6858000"/>
              <a:gd name="connsiteX139" fmla="*/ 7534191 w 7713579"/>
              <a:gd name="connsiteY139" fmla="*/ 6858000 h 6858000"/>
              <a:gd name="connsiteX140" fmla="*/ 0 w 7713579"/>
              <a:gd name="connsiteY140" fmla="*/ 6858000 h 6858000"/>
              <a:gd name="connsiteX141" fmla="*/ 0 w 7713579"/>
              <a:gd name="connsiteY14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7713579" h="6858000">
                <a:moveTo>
                  <a:pt x="0" y="0"/>
                </a:moveTo>
                <a:lnTo>
                  <a:pt x="7534191" y="0"/>
                </a:lnTo>
                <a:lnTo>
                  <a:pt x="7538954" y="66675"/>
                </a:lnTo>
                <a:lnTo>
                  <a:pt x="7546891" y="122237"/>
                </a:lnTo>
                <a:lnTo>
                  <a:pt x="7556416" y="174625"/>
                </a:lnTo>
                <a:lnTo>
                  <a:pt x="7572291" y="217487"/>
                </a:lnTo>
                <a:lnTo>
                  <a:pt x="7588166" y="260350"/>
                </a:lnTo>
                <a:lnTo>
                  <a:pt x="7607216" y="296862"/>
                </a:lnTo>
                <a:lnTo>
                  <a:pt x="7626266" y="334962"/>
                </a:lnTo>
                <a:lnTo>
                  <a:pt x="7643729" y="369887"/>
                </a:lnTo>
                <a:lnTo>
                  <a:pt x="7661191" y="409575"/>
                </a:lnTo>
                <a:lnTo>
                  <a:pt x="7677066" y="450850"/>
                </a:lnTo>
                <a:lnTo>
                  <a:pt x="7691354" y="496887"/>
                </a:lnTo>
                <a:lnTo>
                  <a:pt x="7702466" y="546100"/>
                </a:lnTo>
                <a:lnTo>
                  <a:pt x="7710404" y="606425"/>
                </a:lnTo>
                <a:lnTo>
                  <a:pt x="7713579" y="673100"/>
                </a:lnTo>
                <a:lnTo>
                  <a:pt x="7710404" y="744537"/>
                </a:lnTo>
                <a:lnTo>
                  <a:pt x="7702466" y="801687"/>
                </a:lnTo>
                <a:lnTo>
                  <a:pt x="7691354" y="854075"/>
                </a:lnTo>
                <a:lnTo>
                  <a:pt x="7677066" y="901700"/>
                </a:lnTo>
                <a:lnTo>
                  <a:pt x="7661191" y="942975"/>
                </a:lnTo>
                <a:lnTo>
                  <a:pt x="7642141" y="981075"/>
                </a:lnTo>
                <a:lnTo>
                  <a:pt x="7623091" y="1017587"/>
                </a:lnTo>
                <a:lnTo>
                  <a:pt x="7604041" y="1055687"/>
                </a:lnTo>
                <a:lnTo>
                  <a:pt x="7586579" y="1095375"/>
                </a:lnTo>
                <a:lnTo>
                  <a:pt x="7569116" y="1136650"/>
                </a:lnTo>
                <a:lnTo>
                  <a:pt x="7554829" y="1182687"/>
                </a:lnTo>
                <a:lnTo>
                  <a:pt x="7545304" y="1235075"/>
                </a:lnTo>
                <a:lnTo>
                  <a:pt x="7535779" y="1295400"/>
                </a:lnTo>
                <a:lnTo>
                  <a:pt x="7534191" y="1363662"/>
                </a:lnTo>
                <a:lnTo>
                  <a:pt x="7535779" y="1431925"/>
                </a:lnTo>
                <a:lnTo>
                  <a:pt x="7545304" y="1492250"/>
                </a:lnTo>
                <a:lnTo>
                  <a:pt x="7554829" y="1544637"/>
                </a:lnTo>
                <a:lnTo>
                  <a:pt x="7569116" y="1589087"/>
                </a:lnTo>
                <a:lnTo>
                  <a:pt x="7586579" y="1631950"/>
                </a:lnTo>
                <a:lnTo>
                  <a:pt x="7604041" y="1671637"/>
                </a:lnTo>
                <a:lnTo>
                  <a:pt x="7623091" y="1708150"/>
                </a:lnTo>
                <a:lnTo>
                  <a:pt x="7642141" y="1743075"/>
                </a:lnTo>
                <a:lnTo>
                  <a:pt x="7661191" y="1782762"/>
                </a:lnTo>
                <a:lnTo>
                  <a:pt x="7677066" y="1824037"/>
                </a:lnTo>
                <a:lnTo>
                  <a:pt x="7691354" y="1870075"/>
                </a:lnTo>
                <a:lnTo>
                  <a:pt x="7702466" y="1922462"/>
                </a:lnTo>
                <a:lnTo>
                  <a:pt x="7710404" y="1982787"/>
                </a:lnTo>
                <a:lnTo>
                  <a:pt x="7713579" y="2051050"/>
                </a:lnTo>
                <a:lnTo>
                  <a:pt x="7710404" y="2119312"/>
                </a:lnTo>
                <a:lnTo>
                  <a:pt x="7702466" y="2179637"/>
                </a:lnTo>
                <a:lnTo>
                  <a:pt x="7691354" y="2232025"/>
                </a:lnTo>
                <a:lnTo>
                  <a:pt x="7677066" y="2278062"/>
                </a:lnTo>
                <a:lnTo>
                  <a:pt x="7661191" y="2319337"/>
                </a:lnTo>
                <a:lnTo>
                  <a:pt x="7642141" y="2359025"/>
                </a:lnTo>
                <a:lnTo>
                  <a:pt x="7623091" y="2395537"/>
                </a:lnTo>
                <a:lnTo>
                  <a:pt x="7604041" y="2433637"/>
                </a:lnTo>
                <a:lnTo>
                  <a:pt x="7586579" y="2471737"/>
                </a:lnTo>
                <a:lnTo>
                  <a:pt x="7569116" y="2513012"/>
                </a:lnTo>
                <a:lnTo>
                  <a:pt x="7554829" y="2560637"/>
                </a:lnTo>
                <a:lnTo>
                  <a:pt x="7545304" y="2613025"/>
                </a:lnTo>
                <a:lnTo>
                  <a:pt x="7535779" y="2671762"/>
                </a:lnTo>
                <a:lnTo>
                  <a:pt x="7534191" y="2741612"/>
                </a:lnTo>
                <a:lnTo>
                  <a:pt x="7535779" y="2809875"/>
                </a:lnTo>
                <a:lnTo>
                  <a:pt x="7545304" y="2868612"/>
                </a:lnTo>
                <a:lnTo>
                  <a:pt x="7554829" y="2922587"/>
                </a:lnTo>
                <a:lnTo>
                  <a:pt x="7569116" y="2967037"/>
                </a:lnTo>
                <a:lnTo>
                  <a:pt x="7586579" y="3009900"/>
                </a:lnTo>
                <a:lnTo>
                  <a:pt x="7604041" y="3046412"/>
                </a:lnTo>
                <a:lnTo>
                  <a:pt x="7623091" y="3084512"/>
                </a:lnTo>
                <a:lnTo>
                  <a:pt x="7642141" y="3121025"/>
                </a:lnTo>
                <a:lnTo>
                  <a:pt x="7661191" y="3160712"/>
                </a:lnTo>
                <a:lnTo>
                  <a:pt x="7677066" y="3201987"/>
                </a:lnTo>
                <a:lnTo>
                  <a:pt x="7691354" y="3248025"/>
                </a:lnTo>
                <a:lnTo>
                  <a:pt x="7702466" y="3300412"/>
                </a:lnTo>
                <a:lnTo>
                  <a:pt x="7710404" y="3360737"/>
                </a:lnTo>
                <a:lnTo>
                  <a:pt x="7713579" y="3427412"/>
                </a:lnTo>
                <a:lnTo>
                  <a:pt x="7710404" y="3497262"/>
                </a:lnTo>
                <a:lnTo>
                  <a:pt x="7702466" y="3557587"/>
                </a:lnTo>
                <a:lnTo>
                  <a:pt x="7691354" y="3609975"/>
                </a:lnTo>
                <a:lnTo>
                  <a:pt x="7677066" y="3656012"/>
                </a:lnTo>
                <a:lnTo>
                  <a:pt x="7661191" y="3697287"/>
                </a:lnTo>
                <a:lnTo>
                  <a:pt x="7642141" y="3736975"/>
                </a:lnTo>
                <a:lnTo>
                  <a:pt x="7604041" y="3811587"/>
                </a:lnTo>
                <a:lnTo>
                  <a:pt x="7586579" y="3848100"/>
                </a:lnTo>
                <a:lnTo>
                  <a:pt x="7569116" y="3890962"/>
                </a:lnTo>
                <a:lnTo>
                  <a:pt x="7554829" y="3935412"/>
                </a:lnTo>
                <a:lnTo>
                  <a:pt x="7545304" y="3987800"/>
                </a:lnTo>
                <a:lnTo>
                  <a:pt x="7535779" y="4048125"/>
                </a:lnTo>
                <a:lnTo>
                  <a:pt x="7534191" y="4116387"/>
                </a:lnTo>
                <a:lnTo>
                  <a:pt x="7535779" y="4186237"/>
                </a:lnTo>
                <a:lnTo>
                  <a:pt x="7545304" y="4244975"/>
                </a:lnTo>
                <a:lnTo>
                  <a:pt x="7554829" y="4297362"/>
                </a:lnTo>
                <a:lnTo>
                  <a:pt x="7569116" y="4343400"/>
                </a:lnTo>
                <a:lnTo>
                  <a:pt x="7586579" y="4386262"/>
                </a:lnTo>
                <a:lnTo>
                  <a:pt x="7604041" y="4424362"/>
                </a:lnTo>
                <a:lnTo>
                  <a:pt x="7642141" y="4498975"/>
                </a:lnTo>
                <a:lnTo>
                  <a:pt x="7661191" y="4537075"/>
                </a:lnTo>
                <a:lnTo>
                  <a:pt x="7677066" y="4579937"/>
                </a:lnTo>
                <a:lnTo>
                  <a:pt x="7691354" y="4625975"/>
                </a:lnTo>
                <a:lnTo>
                  <a:pt x="7702466" y="4678362"/>
                </a:lnTo>
                <a:lnTo>
                  <a:pt x="7710404" y="4738687"/>
                </a:lnTo>
                <a:lnTo>
                  <a:pt x="7713579" y="4806950"/>
                </a:lnTo>
                <a:lnTo>
                  <a:pt x="7710404" y="4875212"/>
                </a:lnTo>
                <a:lnTo>
                  <a:pt x="7702466" y="4935537"/>
                </a:lnTo>
                <a:lnTo>
                  <a:pt x="7691354" y="4987925"/>
                </a:lnTo>
                <a:lnTo>
                  <a:pt x="7677066" y="5033962"/>
                </a:lnTo>
                <a:lnTo>
                  <a:pt x="7661191" y="5075237"/>
                </a:lnTo>
                <a:lnTo>
                  <a:pt x="7642141" y="5114925"/>
                </a:lnTo>
                <a:lnTo>
                  <a:pt x="7623091" y="5149850"/>
                </a:lnTo>
                <a:lnTo>
                  <a:pt x="7604041" y="5186362"/>
                </a:lnTo>
                <a:lnTo>
                  <a:pt x="7586579" y="5226050"/>
                </a:lnTo>
                <a:lnTo>
                  <a:pt x="7569116" y="5268912"/>
                </a:lnTo>
                <a:lnTo>
                  <a:pt x="7554829" y="5313362"/>
                </a:lnTo>
                <a:lnTo>
                  <a:pt x="7545304" y="5365750"/>
                </a:lnTo>
                <a:lnTo>
                  <a:pt x="7535779" y="5426075"/>
                </a:lnTo>
                <a:lnTo>
                  <a:pt x="7534191" y="5494337"/>
                </a:lnTo>
                <a:lnTo>
                  <a:pt x="7535779" y="5562600"/>
                </a:lnTo>
                <a:lnTo>
                  <a:pt x="7545304" y="5622925"/>
                </a:lnTo>
                <a:lnTo>
                  <a:pt x="7554829" y="5675312"/>
                </a:lnTo>
                <a:lnTo>
                  <a:pt x="7569116" y="5721350"/>
                </a:lnTo>
                <a:lnTo>
                  <a:pt x="7586579" y="5762625"/>
                </a:lnTo>
                <a:lnTo>
                  <a:pt x="7604041" y="5802312"/>
                </a:lnTo>
                <a:lnTo>
                  <a:pt x="7623091" y="5840412"/>
                </a:lnTo>
                <a:lnTo>
                  <a:pt x="7642141" y="5876925"/>
                </a:lnTo>
                <a:lnTo>
                  <a:pt x="7661191" y="5915025"/>
                </a:lnTo>
                <a:lnTo>
                  <a:pt x="7677066" y="5956300"/>
                </a:lnTo>
                <a:lnTo>
                  <a:pt x="7691354" y="6003925"/>
                </a:lnTo>
                <a:lnTo>
                  <a:pt x="7702466" y="6056312"/>
                </a:lnTo>
                <a:lnTo>
                  <a:pt x="7710404" y="6113462"/>
                </a:lnTo>
                <a:lnTo>
                  <a:pt x="7713579" y="6183312"/>
                </a:lnTo>
                <a:lnTo>
                  <a:pt x="7710404" y="6251575"/>
                </a:lnTo>
                <a:lnTo>
                  <a:pt x="7702466" y="6311900"/>
                </a:lnTo>
                <a:lnTo>
                  <a:pt x="7691354" y="6361112"/>
                </a:lnTo>
                <a:lnTo>
                  <a:pt x="7677066" y="6407150"/>
                </a:lnTo>
                <a:lnTo>
                  <a:pt x="7661191" y="6448425"/>
                </a:lnTo>
                <a:lnTo>
                  <a:pt x="7643729" y="6488112"/>
                </a:lnTo>
                <a:lnTo>
                  <a:pt x="7626266" y="6523037"/>
                </a:lnTo>
                <a:lnTo>
                  <a:pt x="7607216" y="6561137"/>
                </a:lnTo>
                <a:lnTo>
                  <a:pt x="7588166" y="6597650"/>
                </a:lnTo>
                <a:lnTo>
                  <a:pt x="7572291" y="6640512"/>
                </a:lnTo>
                <a:lnTo>
                  <a:pt x="7556416" y="6683375"/>
                </a:lnTo>
                <a:lnTo>
                  <a:pt x="7546891" y="6735762"/>
                </a:lnTo>
                <a:lnTo>
                  <a:pt x="7538954" y="6791325"/>
                </a:lnTo>
                <a:lnTo>
                  <a:pt x="7534191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 descr="Plusieurs points d’interrogation sur fond noir">
            <a:extLst>
              <a:ext uri="{FF2B5EF4-FFF2-40B4-BE49-F238E27FC236}">
                <a16:creationId xmlns:a16="http://schemas.microsoft.com/office/drawing/2014/main" id="{1FD79E4A-E80D-4BA5-BEA9-44F693117FD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9906" t="9091" r="-1" b="-1"/>
          <a:stretch/>
        </p:blipFill>
        <p:spPr>
          <a:xfrm>
            <a:off x="417181" y="2286000"/>
            <a:ext cx="3588289" cy="3035698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060668A1-F703-43F0-AA81-AEEE6C0B4942}"/>
              </a:ext>
            </a:extLst>
          </p:cNvPr>
          <p:cNvSpPr txBox="1"/>
          <p:nvPr/>
        </p:nvSpPr>
        <p:spPr>
          <a:xfrm>
            <a:off x="4154557" y="2001915"/>
            <a:ext cx="7421481" cy="407089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tx1">
                    <a:alpha val="60000"/>
                  </a:schemeClr>
                </a:solidFill>
              </a:rPr>
              <a:t>Capital non </a:t>
            </a:r>
            <a:r>
              <a:rPr lang="en-US" sz="2800" dirty="0" err="1">
                <a:solidFill>
                  <a:schemeClr val="tx1">
                    <a:alpha val="60000"/>
                  </a:schemeClr>
                </a:solidFill>
              </a:rPr>
              <a:t>libéré</a:t>
            </a:r>
            <a:r>
              <a:rPr lang="en-US" sz="2800" dirty="0">
                <a:solidFill>
                  <a:schemeClr val="tx1">
                    <a:alpha val="60000"/>
                  </a:schemeClr>
                </a:solidFill>
              </a:rPr>
              <a:t>			109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 err="1">
                <a:solidFill>
                  <a:schemeClr val="tx1">
                    <a:alpha val="60000"/>
                  </a:schemeClr>
                </a:solidFill>
              </a:rPr>
              <a:t>Emprunt</a:t>
            </a:r>
            <a:r>
              <a:rPr lang="en-US" sz="2800" dirty="0">
                <a:solidFill>
                  <a:schemeClr val="tx1">
                    <a:alpha val="60000"/>
                  </a:schemeClr>
                </a:solidFill>
              </a:rPr>
              <a:t> </a:t>
            </a:r>
            <a:r>
              <a:rPr lang="en-US" sz="2800" dirty="0" err="1">
                <a:solidFill>
                  <a:schemeClr val="tx1">
                    <a:alpha val="60000"/>
                  </a:schemeClr>
                </a:solidFill>
              </a:rPr>
              <a:t>bancaires</a:t>
            </a:r>
            <a:r>
              <a:rPr lang="en-US" sz="2800" dirty="0">
                <a:solidFill>
                  <a:schemeClr val="tx1">
                    <a:alpha val="60000"/>
                  </a:schemeClr>
                </a:solidFill>
              </a:rPr>
              <a:t>			164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tx1">
                    <a:alpha val="60000"/>
                  </a:schemeClr>
                </a:solidFill>
              </a:rPr>
              <a:t>Construction sur sol </a:t>
            </a:r>
            <a:r>
              <a:rPr lang="en-US" sz="2800" dirty="0" err="1">
                <a:solidFill>
                  <a:schemeClr val="tx1">
                    <a:alpha val="60000"/>
                  </a:schemeClr>
                </a:solidFill>
              </a:rPr>
              <a:t>d’autrui</a:t>
            </a:r>
            <a:r>
              <a:rPr lang="en-US" sz="2800" dirty="0">
                <a:solidFill>
                  <a:schemeClr val="tx1">
                    <a:alpha val="60000"/>
                  </a:schemeClr>
                </a:solidFill>
              </a:rPr>
              <a:t>		214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tx1">
                    <a:alpha val="60000"/>
                  </a:schemeClr>
                </a:solidFill>
              </a:rPr>
              <a:t>Provisions pour </a:t>
            </a:r>
            <a:r>
              <a:rPr lang="en-US" sz="2800" dirty="0" err="1">
                <a:solidFill>
                  <a:schemeClr val="tx1">
                    <a:alpha val="60000"/>
                  </a:schemeClr>
                </a:solidFill>
              </a:rPr>
              <a:t>litiges</a:t>
            </a:r>
            <a:r>
              <a:rPr lang="en-US" sz="2800" dirty="0">
                <a:solidFill>
                  <a:schemeClr val="tx1">
                    <a:alpha val="60000"/>
                  </a:schemeClr>
                </a:solidFill>
              </a:rPr>
              <a:t>			151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tx1">
                    <a:alpha val="60000"/>
                  </a:schemeClr>
                </a:solidFill>
              </a:rPr>
              <a:t>Droit au bail				206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tx1">
                    <a:alpha val="60000"/>
                  </a:schemeClr>
                </a:solidFill>
              </a:rPr>
              <a:t>Impot </a:t>
            </a:r>
            <a:r>
              <a:rPr lang="en-US" sz="2800" dirty="0" err="1">
                <a:solidFill>
                  <a:schemeClr val="tx1">
                    <a:alpha val="60000"/>
                  </a:schemeClr>
                </a:solidFill>
              </a:rPr>
              <a:t>société</a:t>
            </a:r>
            <a:r>
              <a:rPr lang="en-US" sz="2800" dirty="0">
                <a:solidFill>
                  <a:schemeClr val="tx1">
                    <a:alpha val="60000"/>
                  </a:schemeClr>
                </a:solidFill>
              </a:rPr>
              <a:t> </a:t>
            </a:r>
            <a:r>
              <a:rPr lang="en-US" sz="2800" dirty="0" err="1">
                <a:solidFill>
                  <a:schemeClr val="tx1">
                    <a:alpha val="60000"/>
                  </a:schemeClr>
                </a:solidFill>
              </a:rPr>
              <a:t>dû</a:t>
            </a:r>
            <a:r>
              <a:rPr lang="en-US" sz="2800" dirty="0">
                <a:solidFill>
                  <a:schemeClr val="tx1">
                    <a:alpha val="60000"/>
                  </a:schemeClr>
                </a:solidFill>
              </a:rPr>
              <a:t>			444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 err="1">
                <a:solidFill>
                  <a:schemeClr val="tx1">
                    <a:alpha val="60000"/>
                  </a:schemeClr>
                </a:solidFill>
              </a:rPr>
              <a:t>Produits</a:t>
            </a:r>
            <a:r>
              <a:rPr lang="en-US" sz="2800" dirty="0">
                <a:solidFill>
                  <a:schemeClr val="tx1">
                    <a:alpha val="60000"/>
                  </a:schemeClr>
                </a:solidFill>
              </a:rPr>
              <a:t> constates </a:t>
            </a:r>
            <a:r>
              <a:rPr lang="en-US" sz="2800" dirty="0" err="1">
                <a:solidFill>
                  <a:schemeClr val="tx1">
                    <a:alpha val="60000"/>
                  </a:schemeClr>
                </a:solidFill>
              </a:rPr>
              <a:t>d’avance</a:t>
            </a:r>
            <a:r>
              <a:rPr lang="en-US" sz="2800" dirty="0">
                <a:solidFill>
                  <a:schemeClr val="tx1">
                    <a:alpha val="60000"/>
                  </a:schemeClr>
                </a:solidFill>
              </a:rPr>
              <a:t>		487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tx1">
                    <a:alpha val="60000"/>
                  </a:schemeClr>
                </a:solidFill>
              </a:rPr>
              <a:t>R.R.R. à </a:t>
            </a:r>
            <a:r>
              <a:rPr lang="en-US" sz="2800" dirty="0" err="1">
                <a:solidFill>
                  <a:schemeClr val="tx1">
                    <a:alpha val="60000"/>
                  </a:schemeClr>
                </a:solidFill>
              </a:rPr>
              <a:t>établir</a:t>
            </a:r>
            <a:r>
              <a:rPr lang="en-US" sz="2800" dirty="0">
                <a:solidFill>
                  <a:schemeClr val="tx1">
                    <a:alpha val="60000"/>
                  </a:schemeClr>
                </a:solidFill>
              </a:rPr>
              <a:t>				4198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dirty="0">
              <a:solidFill>
                <a:schemeClr val="tx1">
                  <a:alpha val="60000"/>
                </a:schemeClr>
              </a:solidFill>
            </a:endParaRP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dirty="0">
              <a:solidFill>
                <a:schemeClr val="tx1">
                  <a:alpha val="60000"/>
                </a:schemeClr>
              </a:solidFill>
            </a:endParaRP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tx1">
                  <a:alpha val="60000"/>
                </a:schemeClr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tx1">
                  <a:alpha val="60000"/>
                </a:schemeClr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64916F3-804E-470E-8BC7-66C825CEE17A}"/>
              </a:ext>
            </a:extLst>
          </p:cNvPr>
          <p:cNvSpPr/>
          <p:nvPr/>
        </p:nvSpPr>
        <p:spPr>
          <a:xfrm>
            <a:off x="1316779" y="160735"/>
            <a:ext cx="3180162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54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Partie 2 :</a:t>
            </a:r>
          </a:p>
        </p:txBody>
      </p:sp>
    </p:spTree>
    <p:extLst>
      <p:ext uri="{BB962C8B-B14F-4D97-AF65-F5344CB8AC3E}">
        <p14:creationId xmlns:p14="http://schemas.microsoft.com/office/powerpoint/2010/main" val="184064044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7" name="Rectangle 76">
            <a:extLst>
              <a:ext uri="{FF2B5EF4-FFF2-40B4-BE49-F238E27FC236}">
                <a16:creationId xmlns:a16="http://schemas.microsoft.com/office/drawing/2014/main" id="{8537B233-9CDD-4A90-AABB-A8963DEE4F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517F6E-26E9-44E8-815E-774552D9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53400" y="818457"/>
            <a:ext cx="3322317" cy="2975876"/>
          </a:xfrm>
          <a:prstGeom prst="ellipse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br>
              <a:rPr lang="en-US" sz="31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endParaRPr lang="en-US" sz="3100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FC9EF324-339C-4E46-9508-BF0C86AAC79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t="21540" b="21540"/>
          <a:stretch/>
        </p:blipFill>
        <p:spPr>
          <a:xfrm>
            <a:off x="716280" y="2215808"/>
            <a:ext cx="5401937" cy="2036367"/>
          </a:xfrm>
          <a:prstGeom prst="rect">
            <a:avLst/>
          </a:prstGeom>
        </p:spPr>
      </p:pic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040575EE-C594-4566-BC00-663004E52A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7617861" y="1417320"/>
            <a:ext cx="0" cy="402336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oneTexte 3">
            <a:extLst>
              <a:ext uri="{FF2B5EF4-FFF2-40B4-BE49-F238E27FC236}">
                <a16:creationId xmlns:a16="http://schemas.microsoft.com/office/drawing/2014/main" id="{AE196125-F657-4A8D-BF6F-9D35E2A19BAA}"/>
              </a:ext>
            </a:extLst>
          </p:cNvPr>
          <p:cNvSpPr txBox="1"/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23" name="ZoneTexte 2">
            <a:extLst>
              <a:ext uri="{FF2B5EF4-FFF2-40B4-BE49-F238E27FC236}">
                <a16:creationId xmlns:a16="http://schemas.microsoft.com/office/drawing/2014/main" id="{61BA051E-0D20-4CC3-9958-C0CFDE297C40}"/>
              </a:ext>
            </a:extLst>
          </p:cNvPr>
          <p:cNvSpPr txBox="1"/>
          <p:nvPr/>
        </p:nvSpPr>
        <p:spPr>
          <a:xfrm>
            <a:off x="1179226" y="3092970"/>
            <a:ext cx="9833548" cy="26939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</p:txBody>
      </p:sp>
      <p:grpSp>
        <p:nvGrpSpPr>
          <p:cNvPr id="7" name="Awar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1C68EA-2299-4048-9768-29BE3CCCA72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0"/>
            <a:ext cx="344587" cy="542925"/>
            <a:chOff x="2585735" y="108789"/>
            <a:chExt cx="344587" cy="542925"/>
          </a:xfrm>
        </p:grpSpPr>
        <p:sp>
          <p:nvSpPr>
            <p:cNvPr id="8" name="Freeform: Shape 206">
              <a:extLst>
                <a:ext uri="{FF2B5EF4-FFF2-40B4-BE49-F238E27FC236}">
                  <a16:creationId xmlns:a16="http://schemas.microsoft.com/office/drawing/2014/main" id="{F1582718-4360-43D7-8A82-7C736EEF1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735" y="108789"/>
              <a:ext cx="344587" cy="344988"/>
            </a:xfrm>
            <a:custGeom>
              <a:avLst/>
              <a:gdLst>
                <a:gd name="connsiteX0" fmla="*/ 167961 w 344587"/>
                <a:gd name="connsiteY0" fmla="*/ 276672 h 344988"/>
                <a:gd name="connsiteX1" fmla="*/ 168781 w 344587"/>
                <a:gd name="connsiteY1" fmla="*/ 281441 h 344988"/>
                <a:gd name="connsiteX2" fmla="*/ 165282 w 344587"/>
                <a:gd name="connsiteY2" fmla="*/ 284827 h 344988"/>
                <a:gd name="connsiteX3" fmla="*/ 170121 w 344587"/>
                <a:gd name="connsiteY3" fmla="*/ 285532 h 344988"/>
                <a:gd name="connsiteX4" fmla="*/ 172307 w 344587"/>
                <a:gd name="connsiteY4" fmla="*/ 289894 h 344988"/>
                <a:gd name="connsiteX5" fmla="*/ 174467 w 344587"/>
                <a:gd name="connsiteY5" fmla="*/ 285532 h 344988"/>
                <a:gd name="connsiteX6" fmla="*/ 179306 w 344587"/>
                <a:gd name="connsiteY6" fmla="*/ 284827 h 344988"/>
                <a:gd name="connsiteX7" fmla="*/ 175806 w 344587"/>
                <a:gd name="connsiteY7" fmla="*/ 281441 h 344988"/>
                <a:gd name="connsiteX8" fmla="*/ 176627 w 344587"/>
                <a:gd name="connsiteY8" fmla="*/ 276672 h 344988"/>
                <a:gd name="connsiteX9" fmla="*/ 172307 w 344587"/>
                <a:gd name="connsiteY9" fmla="*/ 278921 h 344988"/>
                <a:gd name="connsiteX10" fmla="*/ 194527 w 344587"/>
                <a:gd name="connsiteY10" fmla="*/ 274468 h 344988"/>
                <a:gd name="connsiteX11" fmla="*/ 190704 w 344587"/>
                <a:gd name="connsiteY11" fmla="*/ 277391 h 344988"/>
                <a:gd name="connsiteX12" fmla="*/ 186127 w 344587"/>
                <a:gd name="connsiteY12" fmla="*/ 275943 h 344988"/>
                <a:gd name="connsiteX13" fmla="*/ 187742 w 344587"/>
                <a:gd name="connsiteY13" fmla="*/ 280475 h 344988"/>
                <a:gd name="connsiteX14" fmla="*/ 184915 w 344587"/>
                <a:gd name="connsiteY14" fmla="*/ 284363 h 344988"/>
                <a:gd name="connsiteX15" fmla="*/ 189761 w 344587"/>
                <a:gd name="connsiteY15" fmla="*/ 284229 h 344988"/>
                <a:gd name="connsiteX16" fmla="*/ 192615 w 344587"/>
                <a:gd name="connsiteY16" fmla="*/ 288091 h 344988"/>
                <a:gd name="connsiteX17" fmla="*/ 193961 w 344587"/>
                <a:gd name="connsiteY17" fmla="*/ 283479 h 344988"/>
                <a:gd name="connsiteX18" fmla="*/ 198538 w 344587"/>
                <a:gd name="connsiteY18" fmla="*/ 281977 h 344988"/>
                <a:gd name="connsiteX19" fmla="*/ 194554 w 344587"/>
                <a:gd name="connsiteY19" fmla="*/ 279268 h 344988"/>
                <a:gd name="connsiteX20" fmla="*/ 149919 w 344587"/>
                <a:gd name="connsiteY20" fmla="*/ 274468 h 344988"/>
                <a:gd name="connsiteX21" fmla="*/ 149892 w 344587"/>
                <a:gd name="connsiteY21" fmla="*/ 279268 h 344988"/>
                <a:gd name="connsiteX22" fmla="*/ 145849 w 344587"/>
                <a:gd name="connsiteY22" fmla="*/ 281977 h 344988"/>
                <a:gd name="connsiteX23" fmla="*/ 150493 w 344587"/>
                <a:gd name="connsiteY23" fmla="*/ 283479 h 344988"/>
                <a:gd name="connsiteX24" fmla="*/ 151859 w 344587"/>
                <a:gd name="connsiteY24" fmla="*/ 288091 h 344988"/>
                <a:gd name="connsiteX25" fmla="*/ 154755 w 344587"/>
                <a:gd name="connsiteY25" fmla="*/ 284229 h 344988"/>
                <a:gd name="connsiteX26" fmla="*/ 159672 w 344587"/>
                <a:gd name="connsiteY26" fmla="*/ 284363 h 344988"/>
                <a:gd name="connsiteX27" fmla="*/ 156804 w 344587"/>
                <a:gd name="connsiteY27" fmla="*/ 280475 h 344988"/>
                <a:gd name="connsiteX28" fmla="*/ 158443 w 344587"/>
                <a:gd name="connsiteY28" fmla="*/ 275943 h 344988"/>
                <a:gd name="connsiteX29" fmla="*/ 153798 w 344587"/>
                <a:gd name="connsiteY29" fmla="*/ 277391 h 344988"/>
                <a:gd name="connsiteX30" fmla="*/ 211844 w 344587"/>
                <a:gd name="connsiteY30" fmla="*/ 268858 h 344988"/>
                <a:gd name="connsiteX31" fmla="*/ 208584 w 344587"/>
                <a:gd name="connsiteY31" fmla="*/ 272467 h 344988"/>
                <a:gd name="connsiteX32" fmla="*/ 203747 w 344587"/>
                <a:gd name="connsiteY32" fmla="*/ 271811 h 344988"/>
                <a:gd name="connsiteX33" fmla="*/ 206165 w 344587"/>
                <a:gd name="connsiteY33" fmla="*/ 276075 h 344988"/>
                <a:gd name="connsiteX34" fmla="*/ 204046 w 344587"/>
                <a:gd name="connsiteY34" fmla="*/ 280504 h 344988"/>
                <a:gd name="connsiteX35" fmla="*/ 208828 w 344587"/>
                <a:gd name="connsiteY35" fmla="*/ 279492 h 344988"/>
                <a:gd name="connsiteX36" fmla="*/ 212334 w 344587"/>
                <a:gd name="connsiteY36" fmla="*/ 282882 h 344988"/>
                <a:gd name="connsiteX37" fmla="*/ 212877 w 344587"/>
                <a:gd name="connsiteY37" fmla="*/ 278016 h 344988"/>
                <a:gd name="connsiteX38" fmla="*/ 217170 w 344587"/>
                <a:gd name="connsiteY38" fmla="*/ 275693 h 344988"/>
                <a:gd name="connsiteX39" fmla="*/ 212714 w 344587"/>
                <a:gd name="connsiteY39" fmla="*/ 273670 h 344988"/>
                <a:gd name="connsiteX40" fmla="*/ 132663 w 344587"/>
                <a:gd name="connsiteY40" fmla="*/ 268858 h 344988"/>
                <a:gd name="connsiteX41" fmla="*/ 131807 w 344587"/>
                <a:gd name="connsiteY41" fmla="*/ 273670 h 344988"/>
                <a:gd name="connsiteX42" fmla="*/ 127417 w 344587"/>
                <a:gd name="connsiteY42" fmla="*/ 275693 h 344988"/>
                <a:gd name="connsiteX43" fmla="*/ 131646 w 344587"/>
                <a:gd name="connsiteY43" fmla="*/ 278016 h 344988"/>
                <a:gd name="connsiteX44" fmla="*/ 132182 w 344587"/>
                <a:gd name="connsiteY44" fmla="*/ 282882 h 344988"/>
                <a:gd name="connsiteX45" fmla="*/ 135635 w 344587"/>
                <a:gd name="connsiteY45" fmla="*/ 279492 h 344988"/>
                <a:gd name="connsiteX46" fmla="*/ 140345 w 344587"/>
                <a:gd name="connsiteY46" fmla="*/ 280504 h 344988"/>
                <a:gd name="connsiteX47" fmla="*/ 138258 w 344587"/>
                <a:gd name="connsiteY47" fmla="*/ 276075 h 344988"/>
                <a:gd name="connsiteX48" fmla="*/ 140640 w 344587"/>
                <a:gd name="connsiteY48" fmla="*/ 271811 h 344988"/>
                <a:gd name="connsiteX49" fmla="*/ 135875 w 344587"/>
                <a:gd name="connsiteY49" fmla="*/ 272467 h 344988"/>
                <a:gd name="connsiteX50" fmla="*/ 228015 w 344587"/>
                <a:gd name="connsiteY50" fmla="*/ 260644 h 344988"/>
                <a:gd name="connsiteX51" fmla="*/ 225418 w 344587"/>
                <a:gd name="connsiteY51" fmla="*/ 264769 h 344988"/>
                <a:gd name="connsiteX52" fmla="*/ 220576 w 344587"/>
                <a:gd name="connsiteY52" fmla="*/ 264959 h 344988"/>
                <a:gd name="connsiteX53" fmla="*/ 223687 w 344587"/>
                <a:gd name="connsiteY53" fmla="*/ 268704 h 344988"/>
                <a:gd name="connsiteX54" fmla="*/ 222361 w 344587"/>
                <a:gd name="connsiteY54" fmla="*/ 273372 h 344988"/>
                <a:gd name="connsiteX55" fmla="*/ 226879 w 344587"/>
                <a:gd name="connsiteY55" fmla="*/ 271581 h 344988"/>
                <a:gd name="connsiteX56" fmla="*/ 230910 w 344587"/>
                <a:gd name="connsiteY56" fmla="*/ 274268 h 344988"/>
                <a:gd name="connsiteX57" fmla="*/ 230585 w 344587"/>
                <a:gd name="connsiteY57" fmla="*/ 269410 h 344988"/>
                <a:gd name="connsiteX58" fmla="*/ 234399 w 344587"/>
                <a:gd name="connsiteY58" fmla="*/ 266398 h 344988"/>
                <a:gd name="connsiteX59" fmla="*/ 229692 w 344587"/>
                <a:gd name="connsiteY59" fmla="*/ 265204 h 344988"/>
                <a:gd name="connsiteX60" fmla="*/ 116572 w 344587"/>
                <a:gd name="connsiteY60" fmla="*/ 260644 h 344988"/>
                <a:gd name="connsiteX61" fmla="*/ 114895 w 344587"/>
                <a:gd name="connsiteY61" fmla="*/ 265204 h 344988"/>
                <a:gd name="connsiteX62" fmla="*/ 110188 w 344587"/>
                <a:gd name="connsiteY62" fmla="*/ 266398 h 344988"/>
                <a:gd name="connsiteX63" fmla="*/ 114002 w 344587"/>
                <a:gd name="connsiteY63" fmla="*/ 269410 h 344988"/>
                <a:gd name="connsiteX64" fmla="*/ 113678 w 344587"/>
                <a:gd name="connsiteY64" fmla="*/ 274268 h 344988"/>
                <a:gd name="connsiteX65" fmla="*/ 117708 w 344587"/>
                <a:gd name="connsiteY65" fmla="*/ 271581 h 344988"/>
                <a:gd name="connsiteX66" fmla="*/ 122226 w 344587"/>
                <a:gd name="connsiteY66" fmla="*/ 273372 h 344988"/>
                <a:gd name="connsiteX67" fmla="*/ 120900 w 344587"/>
                <a:gd name="connsiteY67" fmla="*/ 268704 h 344988"/>
                <a:gd name="connsiteX68" fmla="*/ 124011 w 344587"/>
                <a:gd name="connsiteY68" fmla="*/ 264959 h 344988"/>
                <a:gd name="connsiteX69" fmla="*/ 119169 w 344587"/>
                <a:gd name="connsiteY69" fmla="*/ 264769 h 344988"/>
                <a:gd name="connsiteX70" fmla="*/ 242363 w 344587"/>
                <a:gd name="connsiteY70" fmla="*/ 249625 h 344988"/>
                <a:gd name="connsiteX71" fmla="*/ 240527 w 344587"/>
                <a:gd name="connsiteY71" fmla="*/ 254100 h 344988"/>
                <a:gd name="connsiteX72" fmla="*/ 235802 w 344587"/>
                <a:gd name="connsiteY72" fmla="*/ 255124 h 344988"/>
                <a:gd name="connsiteX73" fmla="*/ 239501 w 344587"/>
                <a:gd name="connsiteY73" fmla="*/ 258251 h 344988"/>
                <a:gd name="connsiteX74" fmla="*/ 239015 w 344587"/>
                <a:gd name="connsiteY74" fmla="*/ 263048 h 344988"/>
                <a:gd name="connsiteX75" fmla="*/ 243119 w 344587"/>
                <a:gd name="connsiteY75" fmla="*/ 260515 h 344988"/>
                <a:gd name="connsiteX76" fmla="*/ 247546 w 344587"/>
                <a:gd name="connsiteY76" fmla="*/ 262455 h 344988"/>
                <a:gd name="connsiteX77" fmla="*/ 246413 w 344587"/>
                <a:gd name="connsiteY77" fmla="*/ 257766 h 344988"/>
                <a:gd name="connsiteX78" fmla="*/ 249625 w 344587"/>
                <a:gd name="connsiteY78" fmla="*/ 254154 h 344988"/>
                <a:gd name="connsiteX79" fmla="*/ 244792 w 344587"/>
                <a:gd name="connsiteY79" fmla="*/ 253776 h 344988"/>
                <a:gd name="connsiteX80" fmla="*/ 102024 w 344587"/>
                <a:gd name="connsiteY80" fmla="*/ 249625 h 344988"/>
                <a:gd name="connsiteX81" fmla="*/ 99594 w 344587"/>
                <a:gd name="connsiteY81" fmla="*/ 253776 h 344988"/>
                <a:gd name="connsiteX82" fmla="*/ 94762 w 344587"/>
                <a:gd name="connsiteY82" fmla="*/ 254154 h 344988"/>
                <a:gd name="connsiteX83" fmla="*/ 97975 w 344587"/>
                <a:gd name="connsiteY83" fmla="*/ 257766 h 344988"/>
                <a:gd name="connsiteX84" fmla="*/ 96841 w 344587"/>
                <a:gd name="connsiteY84" fmla="*/ 262455 h 344988"/>
                <a:gd name="connsiteX85" fmla="*/ 101268 w 344587"/>
                <a:gd name="connsiteY85" fmla="*/ 260515 h 344988"/>
                <a:gd name="connsiteX86" fmla="*/ 105372 w 344587"/>
                <a:gd name="connsiteY86" fmla="*/ 263048 h 344988"/>
                <a:gd name="connsiteX87" fmla="*/ 104886 w 344587"/>
                <a:gd name="connsiteY87" fmla="*/ 258251 h 344988"/>
                <a:gd name="connsiteX88" fmla="*/ 108585 w 344587"/>
                <a:gd name="connsiteY88" fmla="*/ 255124 h 344988"/>
                <a:gd name="connsiteX89" fmla="*/ 103860 w 344587"/>
                <a:gd name="connsiteY89" fmla="*/ 254100 h 344988"/>
                <a:gd name="connsiteX90" fmla="*/ 254712 w 344587"/>
                <a:gd name="connsiteY90" fmla="*/ 236203 h 344988"/>
                <a:gd name="connsiteX91" fmla="*/ 253690 w 344587"/>
                <a:gd name="connsiteY91" fmla="*/ 240928 h 344988"/>
                <a:gd name="connsiteX92" fmla="*/ 249225 w 344587"/>
                <a:gd name="connsiteY92" fmla="*/ 242764 h 344988"/>
                <a:gd name="connsiteX93" fmla="*/ 253394 w 344587"/>
                <a:gd name="connsiteY93" fmla="*/ 245220 h 344988"/>
                <a:gd name="connsiteX94" fmla="*/ 253771 w 344587"/>
                <a:gd name="connsiteY94" fmla="*/ 250026 h 344988"/>
                <a:gd name="connsiteX95" fmla="*/ 257348 w 344587"/>
                <a:gd name="connsiteY95" fmla="*/ 246813 h 344988"/>
                <a:gd name="connsiteX96" fmla="*/ 262056 w 344587"/>
                <a:gd name="connsiteY96" fmla="*/ 247974 h 344988"/>
                <a:gd name="connsiteX97" fmla="*/ 260119 w 344587"/>
                <a:gd name="connsiteY97" fmla="*/ 243520 h 344988"/>
                <a:gd name="connsiteX98" fmla="*/ 262648 w 344587"/>
                <a:gd name="connsiteY98" fmla="*/ 239416 h 344988"/>
                <a:gd name="connsiteX99" fmla="*/ 257833 w 344587"/>
                <a:gd name="connsiteY99" fmla="*/ 239902 h 344988"/>
                <a:gd name="connsiteX100" fmla="*/ 89793 w 344587"/>
                <a:gd name="connsiteY100" fmla="*/ 236203 h 344988"/>
                <a:gd name="connsiteX101" fmla="*/ 86626 w 344587"/>
                <a:gd name="connsiteY101" fmla="*/ 239902 h 344988"/>
                <a:gd name="connsiteX102" fmla="*/ 81739 w 344587"/>
                <a:gd name="connsiteY102" fmla="*/ 239416 h 344988"/>
                <a:gd name="connsiteX103" fmla="*/ 84333 w 344587"/>
                <a:gd name="connsiteY103" fmla="*/ 243520 h 344988"/>
                <a:gd name="connsiteX104" fmla="*/ 82340 w 344587"/>
                <a:gd name="connsiteY104" fmla="*/ 247974 h 344988"/>
                <a:gd name="connsiteX105" fmla="*/ 87118 w 344587"/>
                <a:gd name="connsiteY105" fmla="*/ 246813 h 344988"/>
                <a:gd name="connsiteX106" fmla="*/ 90749 w 344587"/>
                <a:gd name="connsiteY106" fmla="*/ 250026 h 344988"/>
                <a:gd name="connsiteX107" fmla="*/ 91131 w 344587"/>
                <a:gd name="connsiteY107" fmla="*/ 245220 h 344988"/>
                <a:gd name="connsiteX108" fmla="*/ 95363 w 344587"/>
                <a:gd name="connsiteY108" fmla="*/ 242764 h 344988"/>
                <a:gd name="connsiteX109" fmla="*/ 90831 w 344587"/>
                <a:gd name="connsiteY109" fmla="*/ 240928 h 344988"/>
                <a:gd name="connsiteX110" fmla="*/ 264558 w 344587"/>
                <a:gd name="connsiteY110" fmla="*/ 220977 h 344988"/>
                <a:gd name="connsiteX111" fmla="*/ 264341 w 344587"/>
                <a:gd name="connsiteY111" fmla="*/ 225819 h 344988"/>
                <a:gd name="connsiteX112" fmla="*/ 260243 w 344587"/>
                <a:gd name="connsiteY112" fmla="*/ 228416 h 344988"/>
                <a:gd name="connsiteX113" fmla="*/ 264803 w 344587"/>
                <a:gd name="connsiteY113" fmla="*/ 230093 h 344988"/>
                <a:gd name="connsiteX114" fmla="*/ 265997 w 344587"/>
                <a:gd name="connsiteY114" fmla="*/ 234800 h 344988"/>
                <a:gd name="connsiteX115" fmla="*/ 269009 w 344587"/>
                <a:gd name="connsiteY115" fmla="*/ 230986 h 344988"/>
                <a:gd name="connsiteX116" fmla="*/ 273867 w 344587"/>
                <a:gd name="connsiteY116" fmla="*/ 231311 h 344988"/>
                <a:gd name="connsiteX117" fmla="*/ 271180 w 344587"/>
                <a:gd name="connsiteY117" fmla="*/ 227280 h 344988"/>
                <a:gd name="connsiteX118" fmla="*/ 272971 w 344587"/>
                <a:gd name="connsiteY118" fmla="*/ 222762 h 344988"/>
                <a:gd name="connsiteX119" fmla="*/ 268276 w 344587"/>
                <a:gd name="connsiteY119" fmla="*/ 224088 h 344988"/>
                <a:gd name="connsiteX120" fmla="*/ 80029 w 344587"/>
                <a:gd name="connsiteY120" fmla="*/ 220977 h 344988"/>
                <a:gd name="connsiteX121" fmla="*/ 76311 w 344587"/>
                <a:gd name="connsiteY121" fmla="*/ 224088 h 344988"/>
                <a:gd name="connsiteX122" fmla="*/ 71616 w 344587"/>
                <a:gd name="connsiteY122" fmla="*/ 222762 h 344988"/>
                <a:gd name="connsiteX123" fmla="*/ 73407 w 344587"/>
                <a:gd name="connsiteY123" fmla="*/ 227280 h 344988"/>
                <a:gd name="connsiteX124" fmla="*/ 70721 w 344587"/>
                <a:gd name="connsiteY124" fmla="*/ 231311 h 344988"/>
                <a:gd name="connsiteX125" fmla="*/ 75578 w 344587"/>
                <a:gd name="connsiteY125" fmla="*/ 230986 h 344988"/>
                <a:gd name="connsiteX126" fmla="*/ 78590 w 344587"/>
                <a:gd name="connsiteY126" fmla="*/ 234800 h 344988"/>
                <a:gd name="connsiteX127" fmla="*/ 79785 w 344587"/>
                <a:gd name="connsiteY127" fmla="*/ 230093 h 344988"/>
                <a:gd name="connsiteX128" fmla="*/ 84344 w 344587"/>
                <a:gd name="connsiteY128" fmla="*/ 228416 h 344988"/>
                <a:gd name="connsiteX129" fmla="*/ 80246 w 344587"/>
                <a:gd name="connsiteY129" fmla="*/ 225819 h 344988"/>
                <a:gd name="connsiteX130" fmla="*/ 271410 w 344587"/>
                <a:gd name="connsiteY130" fmla="*/ 204148 h 344988"/>
                <a:gd name="connsiteX131" fmla="*/ 272066 w 344587"/>
                <a:gd name="connsiteY131" fmla="*/ 208985 h 344988"/>
                <a:gd name="connsiteX132" fmla="*/ 268457 w 344587"/>
                <a:gd name="connsiteY132" fmla="*/ 212245 h 344988"/>
                <a:gd name="connsiteX133" fmla="*/ 273269 w 344587"/>
                <a:gd name="connsiteY133" fmla="*/ 213115 h 344988"/>
                <a:gd name="connsiteX134" fmla="*/ 275292 w 344587"/>
                <a:gd name="connsiteY134" fmla="*/ 217571 h 344988"/>
                <a:gd name="connsiteX135" fmla="*/ 277615 w 344587"/>
                <a:gd name="connsiteY135" fmla="*/ 213278 h 344988"/>
                <a:gd name="connsiteX136" fmla="*/ 282481 w 344587"/>
                <a:gd name="connsiteY136" fmla="*/ 212734 h 344988"/>
                <a:gd name="connsiteX137" fmla="*/ 279091 w 344587"/>
                <a:gd name="connsiteY137" fmla="*/ 209229 h 344988"/>
                <a:gd name="connsiteX138" fmla="*/ 280076 w 344587"/>
                <a:gd name="connsiteY138" fmla="*/ 204447 h 344988"/>
                <a:gd name="connsiteX139" fmla="*/ 275674 w 344587"/>
                <a:gd name="connsiteY139" fmla="*/ 206566 h 344988"/>
                <a:gd name="connsiteX140" fmla="*/ 73019 w 344587"/>
                <a:gd name="connsiteY140" fmla="*/ 204148 h 344988"/>
                <a:gd name="connsiteX141" fmla="*/ 68816 w 344587"/>
                <a:gd name="connsiteY141" fmla="*/ 206566 h 344988"/>
                <a:gd name="connsiteX142" fmla="*/ 64477 w 344587"/>
                <a:gd name="connsiteY142" fmla="*/ 204447 h 344988"/>
                <a:gd name="connsiteX143" fmla="*/ 65447 w 344587"/>
                <a:gd name="connsiteY143" fmla="*/ 209229 h 344988"/>
                <a:gd name="connsiteX144" fmla="*/ 62106 w 344587"/>
                <a:gd name="connsiteY144" fmla="*/ 212734 h 344988"/>
                <a:gd name="connsiteX145" fmla="*/ 66903 w 344587"/>
                <a:gd name="connsiteY145" fmla="*/ 213278 h 344988"/>
                <a:gd name="connsiteX146" fmla="*/ 69193 w 344587"/>
                <a:gd name="connsiteY146" fmla="*/ 217571 h 344988"/>
                <a:gd name="connsiteX147" fmla="*/ 71187 w 344587"/>
                <a:gd name="connsiteY147" fmla="*/ 213115 h 344988"/>
                <a:gd name="connsiteX148" fmla="*/ 75929 w 344587"/>
                <a:gd name="connsiteY148" fmla="*/ 212245 h 344988"/>
                <a:gd name="connsiteX149" fmla="*/ 72373 w 344587"/>
                <a:gd name="connsiteY149" fmla="*/ 208985 h 344988"/>
                <a:gd name="connsiteX150" fmla="*/ 283915 w 344587"/>
                <a:gd name="connsiteY150" fmla="*/ 185116 h 344988"/>
                <a:gd name="connsiteX151" fmla="*/ 279950 w 344587"/>
                <a:gd name="connsiteY151" fmla="*/ 187963 h 344988"/>
                <a:gd name="connsiteX152" fmla="*/ 275388 w 344587"/>
                <a:gd name="connsiteY152" fmla="*/ 186320 h 344988"/>
                <a:gd name="connsiteX153" fmla="*/ 276854 w 344587"/>
                <a:gd name="connsiteY153" fmla="*/ 191001 h 344988"/>
                <a:gd name="connsiteX154" fmla="*/ 273867 w 344587"/>
                <a:gd name="connsiteY154" fmla="*/ 194861 h 344988"/>
                <a:gd name="connsiteX155" fmla="*/ 278755 w 344587"/>
                <a:gd name="connsiteY155" fmla="*/ 194888 h 344988"/>
                <a:gd name="connsiteX156" fmla="*/ 281498 w 344587"/>
                <a:gd name="connsiteY156" fmla="*/ 198939 h 344988"/>
                <a:gd name="connsiteX157" fmla="*/ 283019 w 344587"/>
                <a:gd name="connsiteY157" fmla="*/ 194286 h 344988"/>
                <a:gd name="connsiteX158" fmla="*/ 287690 w 344587"/>
                <a:gd name="connsiteY158" fmla="*/ 192917 h 344988"/>
                <a:gd name="connsiteX159" fmla="*/ 283780 w 344587"/>
                <a:gd name="connsiteY159" fmla="*/ 190015 h 344988"/>
                <a:gd name="connsiteX160" fmla="*/ 60472 w 344587"/>
                <a:gd name="connsiteY160" fmla="*/ 185116 h 344988"/>
                <a:gd name="connsiteX161" fmla="*/ 60608 w 344587"/>
                <a:gd name="connsiteY161" fmla="*/ 190015 h 344988"/>
                <a:gd name="connsiteX162" fmla="*/ 56697 w 344587"/>
                <a:gd name="connsiteY162" fmla="*/ 192917 h 344988"/>
                <a:gd name="connsiteX163" fmla="*/ 61368 w 344587"/>
                <a:gd name="connsiteY163" fmla="*/ 194286 h 344988"/>
                <a:gd name="connsiteX164" fmla="*/ 62889 w 344587"/>
                <a:gd name="connsiteY164" fmla="*/ 198939 h 344988"/>
                <a:gd name="connsiteX165" fmla="*/ 65632 w 344587"/>
                <a:gd name="connsiteY165" fmla="*/ 194888 h 344988"/>
                <a:gd name="connsiteX166" fmla="*/ 70520 w 344587"/>
                <a:gd name="connsiteY166" fmla="*/ 194861 h 344988"/>
                <a:gd name="connsiteX167" fmla="*/ 67533 w 344587"/>
                <a:gd name="connsiteY167" fmla="*/ 191001 h 344988"/>
                <a:gd name="connsiteX168" fmla="*/ 68999 w 344587"/>
                <a:gd name="connsiteY168" fmla="*/ 186320 h 344988"/>
                <a:gd name="connsiteX169" fmla="*/ 64437 w 344587"/>
                <a:gd name="connsiteY169" fmla="*/ 187963 h 344988"/>
                <a:gd name="connsiteX170" fmla="*/ 284437 w 344587"/>
                <a:gd name="connsiteY170" fmla="*/ 165482 h 344988"/>
                <a:gd name="connsiteX171" fmla="*/ 281057 w 344587"/>
                <a:gd name="connsiteY171" fmla="*/ 168981 h 344988"/>
                <a:gd name="connsiteX172" fmla="*/ 276271 w 344587"/>
                <a:gd name="connsiteY172" fmla="*/ 168161 h 344988"/>
                <a:gd name="connsiteX173" fmla="*/ 278542 w 344587"/>
                <a:gd name="connsiteY173" fmla="*/ 172508 h 344988"/>
                <a:gd name="connsiteX174" fmla="*/ 276271 w 344587"/>
                <a:gd name="connsiteY174" fmla="*/ 176827 h 344988"/>
                <a:gd name="connsiteX175" fmla="*/ 281057 w 344587"/>
                <a:gd name="connsiteY175" fmla="*/ 176007 h 344988"/>
                <a:gd name="connsiteX176" fmla="*/ 284437 w 344587"/>
                <a:gd name="connsiteY176" fmla="*/ 179506 h 344988"/>
                <a:gd name="connsiteX177" fmla="*/ 285140 w 344587"/>
                <a:gd name="connsiteY177" fmla="*/ 174667 h 344988"/>
                <a:gd name="connsiteX178" fmla="*/ 289493 w 344587"/>
                <a:gd name="connsiteY178" fmla="*/ 172508 h 344988"/>
                <a:gd name="connsiteX179" fmla="*/ 285140 w 344587"/>
                <a:gd name="connsiteY179" fmla="*/ 170321 h 344988"/>
                <a:gd name="connsiteX180" fmla="*/ 60027 w 344587"/>
                <a:gd name="connsiteY180" fmla="*/ 165482 h 344988"/>
                <a:gd name="connsiteX181" fmla="*/ 59313 w 344587"/>
                <a:gd name="connsiteY181" fmla="*/ 170321 h 344988"/>
                <a:gd name="connsiteX182" fmla="*/ 54894 w 344587"/>
                <a:gd name="connsiteY182" fmla="*/ 172508 h 344988"/>
                <a:gd name="connsiteX183" fmla="*/ 59313 w 344587"/>
                <a:gd name="connsiteY183" fmla="*/ 174667 h 344988"/>
                <a:gd name="connsiteX184" fmla="*/ 60027 w 344587"/>
                <a:gd name="connsiteY184" fmla="*/ 179506 h 344988"/>
                <a:gd name="connsiteX185" fmla="*/ 63458 w 344587"/>
                <a:gd name="connsiteY185" fmla="*/ 176007 h 344988"/>
                <a:gd name="connsiteX186" fmla="*/ 68317 w 344587"/>
                <a:gd name="connsiteY186" fmla="*/ 176827 h 344988"/>
                <a:gd name="connsiteX187" fmla="*/ 66011 w 344587"/>
                <a:gd name="connsiteY187" fmla="*/ 172508 h 344988"/>
                <a:gd name="connsiteX188" fmla="*/ 68317 w 344587"/>
                <a:gd name="connsiteY188" fmla="*/ 168161 h 344988"/>
                <a:gd name="connsiteX189" fmla="*/ 63458 w 344587"/>
                <a:gd name="connsiteY189" fmla="*/ 168981 h 344988"/>
                <a:gd name="connsiteX190" fmla="*/ 281498 w 344587"/>
                <a:gd name="connsiteY190" fmla="*/ 146049 h 344988"/>
                <a:gd name="connsiteX191" fmla="*/ 278755 w 344587"/>
                <a:gd name="connsiteY191" fmla="*/ 150092 h 344988"/>
                <a:gd name="connsiteX192" fmla="*/ 273867 w 344587"/>
                <a:gd name="connsiteY192" fmla="*/ 150120 h 344988"/>
                <a:gd name="connsiteX193" fmla="*/ 276854 w 344587"/>
                <a:gd name="connsiteY193" fmla="*/ 153999 h 344988"/>
                <a:gd name="connsiteX194" fmla="*/ 275388 w 344587"/>
                <a:gd name="connsiteY194" fmla="*/ 158670 h 344988"/>
                <a:gd name="connsiteX195" fmla="*/ 279950 w 344587"/>
                <a:gd name="connsiteY195" fmla="*/ 157004 h 344988"/>
                <a:gd name="connsiteX196" fmla="*/ 283915 w 344587"/>
                <a:gd name="connsiteY196" fmla="*/ 159872 h 344988"/>
                <a:gd name="connsiteX197" fmla="*/ 283780 w 344587"/>
                <a:gd name="connsiteY197" fmla="*/ 154955 h 344988"/>
                <a:gd name="connsiteX198" fmla="*/ 287690 w 344587"/>
                <a:gd name="connsiteY198" fmla="*/ 152059 h 344988"/>
                <a:gd name="connsiteX199" fmla="*/ 283019 w 344587"/>
                <a:gd name="connsiteY199" fmla="*/ 150693 h 344988"/>
                <a:gd name="connsiteX200" fmla="*/ 62889 w 344587"/>
                <a:gd name="connsiteY200" fmla="*/ 146049 h 344988"/>
                <a:gd name="connsiteX201" fmla="*/ 61368 w 344587"/>
                <a:gd name="connsiteY201" fmla="*/ 150693 h 344988"/>
                <a:gd name="connsiteX202" fmla="*/ 56697 w 344587"/>
                <a:gd name="connsiteY202" fmla="*/ 152059 h 344988"/>
                <a:gd name="connsiteX203" fmla="*/ 60608 w 344587"/>
                <a:gd name="connsiteY203" fmla="*/ 154955 h 344988"/>
                <a:gd name="connsiteX204" fmla="*/ 60472 w 344587"/>
                <a:gd name="connsiteY204" fmla="*/ 159872 h 344988"/>
                <a:gd name="connsiteX205" fmla="*/ 64437 w 344587"/>
                <a:gd name="connsiteY205" fmla="*/ 157004 h 344988"/>
                <a:gd name="connsiteX206" fmla="*/ 68999 w 344587"/>
                <a:gd name="connsiteY206" fmla="*/ 158670 h 344988"/>
                <a:gd name="connsiteX207" fmla="*/ 67533 w 344587"/>
                <a:gd name="connsiteY207" fmla="*/ 153999 h 344988"/>
                <a:gd name="connsiteX208" fmla="*/ 70520 w 344587"/>
                <a:gd name="connsiteY208" fmla="*/ 150120 h 344988"/>
                <a:gd name="connsiteX209" fmla="*/ 65632 w 344587"/>
                <a:gd name="connsiteY209" fmla="*/ 150092 h 344988"/>
                <a:gd name="connsiteX210" fmla="*/ 275292 w 344587"/>
                <a:gd name="connsiteY210" fmla="*/ 127618 h 344988"/>
                <a:gd name="connsiteX211" fmla="*/ 273269 w 344587"/>
                <a:gd name="connsiteY211" fmla="*/ 132007 h 344988"/>
                <a:gd name="connsiteX212" fmla="*/ 268457 w 344587"/>
                <a:gd name="connsiteY212" fmla="*/ 132864 h 344988"/>
                <a:gd name="connsiteX213" fmla="*/ 272066 w 344587"/>
                <a:gd name="connsiteY213" fmla="*/ 136103 h 344988"/>
                <a:gd name="connsiteX214" fmla="*/ 271410 w 344587"/>
                <a:gd name="connsiteY214" fmla="*/ 140840 h 344988"/>
                <a:gd name="connsiteX215" fmla="*/ 275674 w 344587"/>
                <a:gd name="connsiteY215" fmla="*/ 138458 h 344988"/>
                <a:gd name="connsiteX216" fmla="*/ 280076 w 344587"/>
                <a:gd name="connsiteY216" fmla="*/ 140546 h 344988"/>
                <a:gd name="connsiteX217" fmla="*/ 279091 w 344587"/>
                <a:gd name="connsiteY217" fmla="*/ 135862 h 344988"/>
                <a:gd name="connsiteX218" fmla="*/ 282481 w 344587"/>
                <a:gd name="connsiteY218" fmla="*/ 132382 h 344988"/>
                <a:gd name="connsiteX219" fmla="*/ 277615 w 344587"/>
                <a:gd name="connsiteY219" fmla="*/ 131847 h 344988"/>
                <a:gd name="connsiteX220" fmla="*/ 69193 w 344587"/>
                <a:gd name="connsiteY220" fmla="*/ 127618 h 344988"/>
                <a:gd name="connsiteX221" fmla="*/ 66903 w 344587"/>
                <a:gd name="connsiteY221" fmla="*/ 131847 h 344988"/>
                <a:gd name="connsiteX222" fmla="*/ 62106 w 344587"/>
                <a:gd name="connsiteY222" fmla="*/ 132382 h 344988"/>
                <a:gd name="connsiteX223" fmla="*/ 65447 w 344587"/>
                <a:gd name="connsiteY223" fmla="*/ 135862 h 344988"/>
                <a:gd name="connsiteX224" fmla="*/ 64477 w 344587"/>
                <a:gd name="connsiteY224" fmla="*/ 140546 h 344988"/>
                <a:gd name="connsiteX225" fmla="*/ 68816 w 344587"/>
                <a:gd name="connsiteY225" fmla="*/ 138458 h 344988"/>
                <a:gd name="connsiteX226" fmla="*/ 73019 w 344587"/>
                <a:gd name="connsiteY226" fmla="*/ 140840 h 344988"/>
                <a:gd name="connsiteX227" fmla="*/ 72373 w 344587"/>
                <a:gd name="connsiteY227" fmla="*/ 136103 h 344988"/>
                <a:gd name="connsiteX228" fmla="*/ 75929 w 344587"/>
                <a:gd name="connsiteY228" fmla="*/ 132864 h 344988"/>
                <a:gd name="connsiteX229" fmla="*/ 71187 w 344587"/>
                <a:gd name="connsiteY229" fmla="*/ 132007 h 344988"/>
                <a:gd name="connsiteX230" fmla="*/ 265997 w 344587"/>
                <a:gd name="connsiteY230" fmla="*/ 110188 h 344988"/>
                <a:gd name="connsiteX231" fmla="*/ 264803 w 344587"/>
                <a:gd name="connsiteY231" fmla="*/ 114963 h 344988"/>
                <a:gd name="connsiteX232" fmla="*/ 260243 w 344587"/>
                <a:gd name="connsiteY232" fmla="*/ 116665 h 344988"/>
                <a:gd name="connsiteX233" fmla="*/ 264341 w 344587"/>
                <a:gd name="connsiteY233" fmla="*/ 119299 h 344988"/>
                <a:gd name="connsiteX234" fmla="*/ 264558 w 344587"/>
                <a:gd name="connsiteY234" fmla="*/ 124212 h 344988"/>
                <a:gd name="connsiteX235" fmla="*/ 268276 w 344587"/>
                <a:gd name="connsiteY235" fmla="*/ 121083 h 344988"/>
                <a:gd name="connsiteX236" fmla="*/ 272971 w 344587"/>
                <a:gd name="connsiteY236" fmla="*/ 122401 h 344988"/>
                <a:gd name="connsiteX237" fmla="*/ 271180 w 344587"/>
                <a:gd name="connsiteY237" fmla="*/ 117845 h 344988"/>
                <a:gd name="connsiteX238" fmla="*/ 273867 w 344587"/>
                <a:gd name="connsiteY238" fmla="*/ 113756 h 344988"/>
                <a:gd name="connsiteX239" fmla="*/ 269009 w 344587"/>
                <a:gd name="connsiteY239" fmla="*/ 114057 h 344988"/>
                <a:gd name="connsiteX240" fmla="*/ 78590 w 344587"/>
                <a:gd name="connsiteY240" fmla="*/ 110188 h 344988"/>
                <a:gd name="connsiteX241" fmla="*/ 75578 w 344587"/>
                <a:gd name="connsiteY241" fmla="*/ 114057 h 344988"/>
                <a:gd name="connsiteX242" fmla="*/ 70721 w 344587"/>
                <a:gd name="connsiteY242" fmla="*/ 113756 h 344988"/>
                <a:gd name="connsiteX243" fmla="*/ 73407 w 344587"/>
                <a:gd name="connsiteY243" fmla="*/ 117845 h 344988"/>
                <a:gd name="connsiteX244" fmla="*/ 71616 w 344587"/>
                <a:gd name="connsiteY244" fmla="*/ 122401 h 344988"/>
                <a:gd name="connsiteX245" fmla="*/ 76311 w 344587"/>
                <a:gd name="connsiteY245" fmla="*/ 121083 h 344988"/>
                <a:gd name="connsiteX246" fmla="*/ 80029 w 344587"/>
                <a:gd name="connsiteY246" fmla="*/ 124212 h 344988"/>
                <a:gd name="connsiteX247" fmla="*/ 80246 w 344587"/>
                <a:gd name="connsiteY247" fmla="*/ 119299 h 344988"/>
                <a:gd name="connsiteX248" fmla="*/ 84344 w 344587"/>
                <a:gd name="connsiteY248" fmla="*/ 116665 h 344988"/>
                <a:gd name="connsiteX249" fmla="*/ 79785 w 344587"/>
                <a:gd name="connsiteY249" fmla="*/ 114963 h 344988"/>
                <a:gd name="connsiteX250" fmla="*/ 172293 w 344587"/>
                <a:gd name="connsiteY250" fmla="*/ 107507 h 344988"/>
                <a:gd name="connsiteX251" fmla="*/ 164742 w 344587"/>
                <a:gd name="connsiteY251" fmla="*/ 112163 h 344988"/>
                <a:gd name="connsiteX252" fmla="*/ 148477 w 344587"/>
                <a:gd name="connsiteY252" fmla="*/ 145335 h 344988"/>
                <a:gd name="connsiteX253" fmla="*/ 111881 w 344587"/>
                <a:gd name="connsiteY253" fmla="*/ 150766 h 344988"/>
                <a:gd name="connsiteX254" fmla="*/ 104910 w 344587"/>
                <a:gd name="connsiteY254" fmla="*/ 156392 h 344988"/>
                <a:gd name="connsiteX255" fmla="*/ 107234 w 344587"/>
                <a:gd name="connsiteY255" fmla="*/ 165121 h 344988"/>
                <a:gd name="connsiteX256" fmla="*/ 133567 w 344587"/>
                <a:gd name="connsiteY256" fmla="*/ 190922 h 344988"/>
                <a:gd name="connsiteX257" fmla="*/ 127371 w 344587"/>
                <a:gd name="connsiteY257" fmla="*/ 227392 h 344988"/>
                <a:gd name="connsiteX258" fmla="*/ 130663 w 344587"/>
                <a:gd name="connsiteY258" fmla="*/ 235733 h 344988"/>
                <a:gd name="connsiteX259" fmla="*/ 135697 w 344587"/>
                <a:gd name="connsiteY259" fmla="*/ 237479 h 344988"/>
                <a:gd name="connsiteX260" fmla="*/ 139570 w 344587"/>
                <a:gd name="connsiteY260" fmla="*/ 236509 h 344988"/>
                <a:gd name="connsiteX261" fmla="*/ 172293 w 344587"/>
                <a:gd name="connsiteY261" fmla="*/ 219244 h 344988"/>
                <a:gd name="connsiteX262" fmla="*/ 205016 w 344587"/>
                <a:gd name="connsiteY262" fmla="*/ 236509 h 344988"/>
                <a:gd name="connsiteX263" fmla="*/ 209083 w 344587"/>
                <a:gd name="connsiteY263" fmla="*/ 237479 h 344988"/>
                <a:gd name="connsiteX264" fmla="*/ 213923 w 344587"/>
                <a:gd name="connsiteY264" fmla="*/ 235733 h 344988"/>
                <a:gd name="connsiteX265" fmla="*/ 217409 w 344587"/>
                <a:gd name="connsiteY265" fmla="*/ 227392 h 344988"/>
                <a:gd name="connsiteX266" fmla="*/ 211213 w 344587"/>
                <a:gd name="connsiteY266" fmla="*/ 190922 h 344988"/>
                <a:gd name="connsiteX267" fmla="*/ 237546 w 344587"/>
                <a:gd name="connsiteY267" fmla="*/ 165121 h 344988"/>
                <a:gd name="connsiteX268" fmla="*/ 239676 w 344587"/>
                <a:gd name="connsiteY268" fmla="*/ 156392 h 344988"/>
                <a:gd name="connsiteX269" fmla="*/ 232899 w 344587"/>
                <a:gd name="connsiteY269" fmla="*/ 150766 h 344988"/>
                <a:gd name="connsiteX270" fmla="*/ 196303 w 344587"/>
                <a:gd name="connsiteY270" fmla="*/ 145335 h 344988"/>
                <a:gd name="connsiteX271" fmla="*/ 180038 w 344587"/>
                <a:gd name="connsiteY271" fmla="*/ 112163 h 344988"/>
                <a:gd name="connsiteX272" fmla="*/ 172293 w 344587"/>
                <a:gd name="connsiteY272" fmla="*/ 107507 h 344988"/>
                <a:gd name="connsiteX273" fmla="*/ 253771 w 344587"/>
                <a:gd name="connsiteY273" fmla="*/ 94962 h 344988"/>
                <a:gd name="connsiteX274" fmla="*/ 253394 w 344587"/>
                <a:gd name="connsiteY274" fmla="*/ 99795 h 344988"/>
                <a:gd name="connsiteX275" fmla="*/ 249225 w 344587"/>
                <a:gd name="connsiteY275" fmla="*/ 102225 h 344988"/>
                <a:gd name="connsiteX276" fmla="*/ 253690 w 344587"/>
                <a:gd name="connsiteY276" fmla="*/ 104061 h 344988"/>
                <a:gd name="connsiteX277" fmla="*/ 254712 w 344587"/>
                <a:gd name="connsiteY277" fmla="*/ 108785 h 344988"/>
                <a:gd name="connsiteX278" fmla="*/ 257833 w 344587"/>
                <a:gd name="connsiteY278" fmla="*/ 105114 h 344988"/>
                <a:gd name="connsiteX279" fmla="*/ 262648 w 344587"/>
                <a:gd name="connsiteY279" fmla="*/ 105573 h 344988"/>
                <a:gd name="connsiteX280" fmla="*/ 260119 w 344587"/>
                <a:gd name="connsiteY280" fmla="*/ 101469 h 344988"/>
                <a:gd name="connsiteX281" fmla="*/ 262056 w 344587"/>
                <a:gd name="connsiteY281" fmla="*/ 97041 h 344988"/>
                <a:gd name="connsiteX282" fmla="*/ 257348 w 344587"/>
                <a:gd name="connsiteY282" fmla="*/ 98175 h 344988"/>
                <a:gd name="connsiteX283" fmla="*/ 90749 w 344587"/>
                <a:gd name="connsiteY283" fmla="*/ 94962 h 344988"/>
                <a:gd name="connsiteX284" fmla="*/ 87118 w 344587"/>
                <a:gd name="connsiteY284" fmla="*/ 98175 h 344988"/>
                <a:gd name="connsiteX285" fmla="*/ 82340 w 344587"/>
                <a:gd name="connsiteY285" fmla="*/ 97041 h 344988"/>
                <a:gd name="connsiteX286" fmla="*/ 84333 w 344587"/>
                <a:gd name="connsiteY286" fmla="*/ 101469 h 344988"/>
                <a:gd name="connsiteX287" fmla="*/ 81739 w 344587"/>
                <a:gd name="connsiteY287" fmla="*/ 105573 h 344988"/>
                <a:gd name="connsiteX288" fmla="*/ 86626 w 344587"/>
                <a:gd name="connsiteY288" fmla="*/ 105114 h 344988"/>
                <a:gd name="connsiteX289" fmla="*/ 89793 w 344587"/>
                <a:gd name="connsiteY289" fmla="*/ 108785 h 344988"/>
                <a:gd name="connsiteX290" fmla="*/ 90831 w 344587"/>
                <a:gd name="connsiteY290" fmla="*/ 104061 h 344988"/>
                <a:gd name="connsiteX291" fmla="*/ 95363 w 344587"/>
                <a:gd name="connsiteY291" fmla="*/ 102225 h 344988"/>
                <a:gd name="connsiteX292" fmla="*/ 91131 w 344587"/>
                <a:gd name="connsiteY292" fmla="*/ 99795 h 344988"/>
                <a:gd name="connsiteX293" fmla="*/ 239015 w 344587"/>
                <a:gd name="connsiteY293" fmla="*/ 81940 h 344988"/>
                <a:gd name="connsiteX294" fmla="*/ 239501 w 344587"/>
                <a:gd name="connsiteY294" fmla="*/ 86827 h 344988"/>
                <a:gd name="connsiteX295" fmla="*/ 235802 w 344587"/>
                <a:gd name="connsiteY295" fmla="*/ 89993 h 344988"/>
                <a:gd name="connsiteX296" fmla="*/ 240527 w 344587"/>
                <a:gd name="connsiteY296" fmla="*/ 91031 h 344988"/>
                <a:gd name="connsiteX297" fmla="*/ 242363 w 344587"/>
                <a:gd name="connsiteY297" fmla="*/ 95563 h 344988"/>
                <a:gd name="connsiteX298" fmla="*/ 244792 w 344587"/>
                <a:gd name="connsiteY298" fmla="*/ 91331 h 344988"/>
                <a:gd name="connsiteX299" fmla="*/ 249625 w 344587"/>
                <a:gd name="connsiteY299" fmla="*/ 90976 h 344988"/>
                <a:gd name="connsiteX300" fmla="*/ 246413 w 344587"/>
                <a:gd name="connsiteY300" fmla="*/ 87318 h 344988"/>
                <a:gd name="connsiteX301" fmla="*/ 247546 w 344587"/>
                <a:gd name="connsiteY301" fmla="*/ 82568 h 344988"/>
                <a:gd name="connsiteX302" fmla="*/ 243119 w 344587"/>
                <a:gd name="connsiteY302" fmla="*/ 84533 h 344988"/>
                <a:gd name="connsiteX303" fmla="*/ 105372 w 344587"/>
                <a:gd name="connsiteY303" fmla="*/ 81940 h 344988"/>
                <a:gd name="connsiteX304" fmla="*/ 101268 w 344587"/>
                <a:gd name="connsiteY304" fmla="*/ 84533 h 344988"/>
                <a:gd name="connsiteX305" fmla="*/ 96841 w 344587"/>
                <a:gd name="connsiteY305" fmla="*/ 82568 h 344988"/>
                <a:gd name="connsiteX306" fmla="*/ 97975 w 344587"/>
                <a:gd name="connsiteY306" fmla="*/ 87318 h 344988"/>
                <a:gd name="connsiteX307" fmla="*/ 94762 w 344587"/>
                <a:gd name="connsiteY307" fmla="*/ 90976 h 344988"/>
                <a:gd name="connsiteX308" fmla="*/ 99594 w 344587"/>
                <a:gd name="connsiteY308" fmla="*/ 91331 h 344988"/>
                <a:gd name="connsiteX309" fmla="*/ 102024 w 344587"/>
                <a:gd name="connsiteY309" fmla="*/ 95563 h 344988"/>
                <a:gd name="connsiteX310" fmla="*/ 103860 w 344587"/>
                <a:gd name="connsiteY310" fmla="*/ 91031 h 344988"/>
                <a:gd name="connsiteX311" fmla="*/ 108585 w 344587"/>
                <a:gd name="connsiteY311" fmla="*/ 89993 h 344988"/>
                <a:gd name="connsiteX312" fmla="*/ 104886 w 344587"/>
                <a:gd name="connsiteY312" fmla="*/ 86827 h 344988"/>
                <a:gd name="connsiteX313" fmla="*/ 230910 w 344587"/>
                <a:gd name="connsiteY313" fmla="*/ 70720 h 344988"/>
                <a:gd name="connsiteX314" fmla="*/ 226879 w 344587"/>
                <a:gd name="connsiteY314" fmla="*/ 73474 h 344988"/>
                <a:gd name="connsiteX315" fmla="*/ 222361 w 344587"/>
                <a:gd name="connsiteY315" fmla="*/ 71629 h 344988"/>
                <a:gd name="connsiteX316" fmla="*/ 223687 w 344587"/>
                <a:gd name="connsiteY316" fmla="*/ 76393 h 344988"/>
                <a:gd name="connsiteX317" fmla="*/ 220576 w 344587"/>
                <a:gd name="connsiteY317" fmla="*/ 80193 h 344988"/>
                <a:gd name="connsiteX318" fmla="*/ 225418 w 344587"/>
                <a:gd name="connsiteY318" fmla="*/ 80386 h 344988"/>
                <a:gd name="connsiteX319" fmla="*/ 228015 w 344587"/>
                <a:gd name="connsiteY319" fmla="*/ 84544 h 344988"/>
                <a:gd name="connsiteX320" fmla="*/ 229692 w 344587"/>
                <a:gd name="connsiteY320" fmla="*/ 79918 h 344988"/>
                <a:gd name="connsiteX321" fmla="*/ 234399 w 344587"/>
                <a:gd name="connsiteY321" fmla="*/ 78706 h 344988"/>
                <a:gd name="connsiteX322" fmla="*/ 230585 w 344587"/>
                <a:gd name="connsiteY322" fmla="*/ 75650 h 344988"/>
                <a:gd name="connsiteX323" fmla="*/ 113678 w 344587"/>
                <a:gd name="connsiteY323" fmla="*/ 70720 h 344988"/>
                <a:gd name="connsiteX324" fmla="*/ 114002 w 344587"/>
                <a:gd name="connsiteY324" fmla="*/ 75650 h 344988"/>
                <a:gd name="connsiteX325" fmla="*/ 110188 w 344587"/>
                <a:gd name="connsiteY325" fmla="*/ 78706 h 344988"/>
                <a:gd name="connsiteX326" fmla="*/ 114895 w 344587"/>
                <a:gd name="connsiteY326" fmla="*/ 79918 h 344988"/>
                <a:gd name="connsiteX327" fmla="*/ 116572 w 344587"/>
                <a:gd name="connsiteY327" fmla="*/ 84544 h 344988"/>
                <a:gd name="connsiteX328" fmla="*/ 119169 w 344587"/>
                <a:gd name="connsiteY328" fmla="*/ 80386 h 344988"/>
                <a:gd name="connsiteX329" fmla="*/ 124011 w 344587"/>
                <a:gd name="connsiteY329" fmla="*/ 80193 h 344988"/>
                <a:gd name="connsiteX330" fmla="*/ 120900 w 344587"/>
                <a:gd name="connsiteY330" fmla="*/ 76393 h 344988"/>
                <a:gd name="connsiteX331" fmla="*/ 122226 w 344587"/>
                <a:gd name="connsiteY331" fmla="*/ 71629 h 344988"/>
                <a:gd name="connsiteX332" fmla="*/ 117708 w 344587"/>
                <a:gd name="connsiteY332" fmla="*/ 73474 h 344988"/>
                <a:gd name="connsiteX333" fmla="*/ 212334 w 344587"/>
                <a:gd name="connsiteY333" fmla="*/ 62106 h 344988"/>
                <a:gd name="connsiteX334" fmla="*/ 208828 w 344587"/>
                <a:gd name="connsiteY334" fmla="*/ 65489 h 344988"/>
                <a:gd name="connsiteX335" fmla="*/ 204046 w 344587"/>
                <a:gd name="connsiteY335" fmla="*/ 64507 h 344988"/>
                <a:gd name="connsiteX336" fmla="*/ 206165 w 344587"/>
                <a:gd name="connsiteY336" fmla="*/ 68900 h 344988"/>
                <a:gd name="connsiteX337" fmla="*/ 203747 w 344587"/>
                <a:gd name="connsiteY337" fmla="*/ 73156 h 344988"/>
                <a:gd name="connsiteX338" fmla="*/ 208584 w 344587"/>
                <a:gd name="connsiteY338" fmla="*/ 72501 h 344988"/>
                <a:gd name="connsiteX339" fmla="*/ 211844 w 344587"/>
                <a:gd name="connsiteY339" fmla="*/ 76130 h 344988"/>
                <a:gd name="connsiteX340" fmla="*/ 212714 w 344587"/>
                <a:gd name="connsiteY340" fmla="*/ 71301 h 344988"/>
                <a:gd name="connsiteX341" fmla="*/ 217170 w 344587"/>
                <a:gd name="connsiteY341" fmla="*/ 69282 h 344988"/>
                <a:gd name="connsiteX342" fmla="*/ 212877 w 344587"/>
                <a:gd name="connsiteY342" fmla="*/ 66962 h 344988"/>
                <a:gd name="connsiteX343" fmla="*/ 132182 w 344587"/>
                <a:gd name="connsiteY343" fmla="*/ 62106 h 344988"/>
                <a:gd name="connsiteX344" fmla="*/ 131646 w 344587"/>
                <a:gd name="connsiteY344" fmla="*/ 66962 h 344988"/>
                <a:gd name="connsiteX345" fmla="*/ 127417 w 344587"/>
                <a:gd name="connsiteY345" fmla="*/ 69282 h 344988"/>
                <a:gd name="connsiteX346" fmla="*/ 131807 w 344587"/>
                <a:gd name="connsiteY346" fmla="*/ 71301 h 344988"/>
                <a:gd name="connsiteX347" fmla="*/ 132663 w 344587"/>
                <a:gd name="connsiteY347" fmla="*/ 76130 h 344988"/>
                <a:gd name="connsiteX348" fmla="*/ 135875 w 344587"/>
                <a:gd name="connsiteY348" fmla="*/ 72501 h 344988"/>
                <a:gd name="connsiteX349" fmla="*/ 140640 w 344587"/>
                <a:gd name="connsiteY349" fmla="*/ 73156 h 344988"/>
                <a:gd name="connsiteX350" fmla="*/ 138258 w 344587"/>
                <a:gd name="connsiteY350" fmla="*/ 68900 h 344988"/>
                <a:gd name="connsiteX351" fmla="*/ 140345 w 344587"/>
                <a:gd name="connsiteY351" fmla="*/ 64507 h 344988"/>
                <a:gd name="connsiteX352" fmla="*/ 135635 w 344587"/>
                <a:gd name="connsiteY352" fmla="*/ 65489 h 344988"/>
                <a:gd name="connsiteX353" fmla="*/ 192615 w 344587"/>
                <a:gd name="connsiteY353" fmla="*/ 56897 h 344988"/>
                <a:gd name="connsiteX354" fmla="*/ 189761 w 344587"/>
                <a:gd name="connsiteY354" fmla="*/ 60835 h 344988"/>
                <a:gd name="connsiteX355" fmla="*/ 184915 w 344587"/>
                <a:gd name="connsiteY355" fmla="*/ 60672 h 344988"/>
                <a:gd name="connsiteX356" fmla="*/ 187742 w 344587"/>
                <a:gd name="connsiteY356" fmla="*/ 64637 h 344988"/>
                <a:gd name="connsiteX357" fmla="*/ 186127 w 344587"/>
                <a:gd name="connsiteY357" fmla="*/ 69227 h 344988"/>
                <a:gd name="connsiteX358" fmla="*/ 190704 w 344587"/>
                <a:gd name="connsiteY358" fmla="*/ 67733 h 344988"/>
                <a:gd name="connsiteX359" fmla="*/ 194527 w 344587"/>
                <a:gd name="connsiteY359" fmla="*/ 70720 h 344988"/>
                <a:gd name="connsiteX360" fmla="*/ 194554 w 344587"/>
                <a:gd name="connsiteY360" fmla="*/ 65832 h 344988"/>
                <a:gd name="connsiteX361" fmla="*/ 198538 w 344587"/>
                <a:gd name="connsiteY361" fmla="*/ 63089 h 344988"/>
                <a:gd name="connsiteX362" fmla="*/ 193961 w 344587"/>
                <a:gd name="connsiteY362" fmla="*/ 61568 h 344988"/>
                <a:gd name="connsiteX363" fmla="*/ 151859 w 344587"/>
                <a:gd name="connsiteY363" fmla="*/ 56897 h 344988"/>
                <a:gd name="connsiteX364" fmla="*/ 150493 w 344587"/>
                <a:gd name="connsiteY364" fmla="*/ 61568 h 344988"/>
                <a:gd name="connsiteX365" fmla="*/ 145849 w 344587"/>
                <a:gd name="connsiteY365" fmla="*/ 63089 h 344988"/>
                <a:gd name="connsiteX366" fmla="*/ 149892 w 344587"/>
                <a:gd name="connsiteY366" fmla="*/ 65832 h 344988"/>
                <a:gd name="connsiteX367" fmla="*/ 149919 w 344587"/>
                <a:gd name="connsiteY367" fmla="*/ 70720 h 344988"/>
                <a:gd name="connsiteX368" fmla="*/ 153798 w 344587"/>
                <a:gd name="connsiteY368" fmla="*/ 67733 h 344988"/>
                <a:gd name="connsiteX369" fmla="*/ 158443 w 344587"/>
                <a:gd name="connsiteY369" fmla="*/ 69227 h 344988"/>
                <a:gd name="connsiteX370" fmla="*/ 156804 w 344587"/>
                <a:gd name="connsiteY370" fmla="*/ 64637 h 344988"/>
                <a:gd name="connsiteX371" fmla="*/ 159672 w 344587"/>
                <a:gd name="connsiteY371" fmla="*/ 60672 h 344988"/>
                <a:gd name="connsiteX372" fmla="*/ 154755 w 344587"/>
                <a:gd name="connsiteY372" fmla="*/ 60835 h 344988"/>
                <a:gd name="connsiteX373" fmla="*/ 172307 w 344587"/>
                <a:gd name="connsiteY373" fmla="*/ 55094 h 344988"/>
                <a:gd name="connsiteX374" fmla="*/ 170121 w 344587"/>
                <a:gd name="connsiteY374" fmla="*/ 59447 h 344988"/>
                <a:gd name="connsiteX375" fmla="*/ 165282 w 344587"/>
                <a:gd name="connsiteY375" fmla="*/ 60150 h 344988"/>
                <a:gd name="connsiteX376" fmla="*/ 168781 w 344587"/>
                <a:gd name="connsiteY376" fmla="*/ 63530 h 344988"/>
                <a:gd name="connsiteX377" fmla="*/ 167961 w 344587"/>
                <a:gd name="connsiteY377" fmla="*/ 68316 h 344988"/>
                <a:gd name="connsiteX378" fmla="*/ 172307 w 344587"/>
                <a:gd name="connsiteY378" fmla="*/ 66045 h 344988"/>
                <a:gd name="connsiteX379" fmla="*/ 176627 w 344587"/>
                <a:gd name="connsiteY379" fmla="*/ 68316 h 344988"/>
                <a:gd name="connsiteX380" fmla="*/ 175806 w 344587"/>
                <a:gd name="connsiteY380" fmla="*/ 63530 h 344988"/>
                <a:gd name="connsiteX381" fmla="*/ 179306 w 344587"/>
                <a:gd name="connsiteY381" fmla="*/ 60150 h 344988"/>
                <a:gd name="connsiteX382" fmla="*/ 174467 w 344587"/>
                <a:gd name="connsiteY382" fmla="*/ 59447 h 344988"/>
                <a:gd name="connsiteX383" fmla="*/ 171615 w 344587"/>
                <a:gd name="connsiteY383" fmla="*/ 48293 h 344988"/>
                <a:gd name="connsiteX384" fmla="*/ 293719 w 344587"/>
                <a:gd name="connsiteY384" fmla="*/ 170398 h 344988"/>
                <a:gd name="connsiteX385" fmla="*/ 171615 w 344587"/>
                <a:gd name="connsiteY385" fmla="*/ 292503 h 344988"/>
                <a:gd name="connsiteX386" fmla="*/ 49510 w 344587"/>
                <a:gd name="connsiteY386" fmla="*/ 170398 h 344988"/>
                <a:gd name="connsiteX387" fmla="*/ 171615 w 344587"/>
                <a:gd name="connsiteY387" fmla="*/ 48293 h 344988"/>
                <a:gd name="connsiteX388" fmla="*/ 171615 w 344587"/>
                <a:gd name="connsiteY388" fmla="*/ 34348 h 344988"/>
                <a:gd name="connsiteX389" fmla="*/ 35565 w 344587"/>
                <a:gd name="connsiteY389" fmla="*/ 170398 h 344988"/>
                <a:gd name="connsiteX390" fmla="*/ 171615 w 344587"/>
                <a:gd name="connsiteY390" fmla="*/ 306448 h 344988"/>
                <a:gd name="connsiteX391" fmla="*/ 307665 w 344587"/>
                <a:gd name="connsiteY391" fmla="*/ 170398 h 344988"/>
                <a:gd name="connsiteX392" fmla="*/ 171615 w 344587"/>
                <a:gd name="connsiteY392" fmla="*/ 34348 h 344988"/>
                <a:gd name="connsiteX393" fmla="*/ 172307 w 344587"/>
                <a:gd name="connsiteY393" fmla="*/ 0 h 344988"/>
                <a:gd name="connsiteX394" fmla="*/ 212700 w 344587"/>
                <a:gd name="connsiteY394" fmla="*/ 21468 h 344988"/>
                <a:gd name="connsiteX395" fmla="*/ 258434 w 344587"/>
                <a:gd name="connsiteY395" fmla="*/ 23124 h 344988"/>
                <a:gd name="connsiteX396" fmla="*/ 282724 w 344587"/>
                <a:gd name="connsiteY396" fmla="*/ 61936 h 344988"/>
                <a:gd name="connsiteX397" fmla="*/ 321490 w 344587"/>
                <a:gd name="connsiteY397" fmla="*/ 86254 h 344988"/>
                <a:gd name="connsiteX398" fmla="*/ 323144 w 344587"/>
                <a:gd name="connsiteY398" fmla="*/ 132040 h 344988"/>
                <a:gd name="connsiteX399" fmla="*/ 344587 w 344587"/>
                <a:gd name="connsiteY399" fmla="*/ 172508 h 344988"/>
                <a:gd name="connsiteX400" fmla="*/ 323144 w 344587"/>
                <a:gd name="connsiteY400" fmla="*/ 212975 h 344988"/>
                <a:gd name="connsiteX401" fmla="*/ 321490 w 344587"/>
                <a:gd name="connsiteY401" fmla="*/ 258734 h 344988"/>
                <a:gd name="connsiteX402" fmla="*/ 282724 w 344587"/>
                <a:gd name="connsiteY402" fmla="*/ 283052 h 344988"/>
                <a:gd name="connsiteX403" fmla="*/ 258434 w 344587"/>
                <a:gd name="connsiteY403" fmla="*/ 321891 h 344988"/>
                <a:gd name="connsiteX404" fmla="*/ 212700 w 344587"/>
                <a:gd name="connsiteY404" fmla="*/ 323520 h 344988"/>
                <a:gd name="connsiteX405" fmla="*/ 172307 w 344587"/>
                <a:gd name="connsiteY405" fmla="*/ 344988 h 344988"/>
                <a:gd name="connsiteX406" fmla="*/ 131887 w 344587"/>
                <a:gd name="connsiteY406" fmla="*/ 323520 h 344988"/>
                <a:gd name="connsiteX407" fmla="*/ 86154 w 344587"/>
                <a:gd name="connsiteY407" fmla="*/ 321891 h 344988"/>
                <a:gd name="connsiteX408" fmla="*/ 61864 w 344587"/>
                <a:gd name="connsiteY408" fmla="*/ 283052 h 344988"/>
                <a:gd name="connsiteX409" fmla="*/ 23097 w 344587"/>
                <a:gd name="connsiteY409" fmla="*/ 258734 h 344988"/>
                <a:gd name="connsiteX410" fmla="*/ 21444 w 344587"/>
                <a:gd name="connsiteY410" fmla="*/ 212975 h 344988"/>
                <a:gd name="connsiteX411" fmla="*/ 0 w 344587"/>
                <a:gd name="connsiteY411" fmla="*/ 172508 h 344988"/>
                <a:gd name="connsiteX412" fmla="*/ 21444 w 344587"/>
                <a:gd name="connsiteY412" fmla="*/ 132040 h 344988"/>
                <a:gd name="connsiteX413" fmla="*/ 23097 w 344587"/>
                <a:gd name="connsiteY413" fmla="*/ 86254 h 344988"/>
                <a:gd name="connsiteX414" fmla="*/ 61864 w 344587"/>
                <a:gd name="connsiteY414" fmla="*/ 61936 h 344988"/>
                <a:gd name="connsiteX415" fmla="*/ 86154 w 344587"/>
                <a:gd name="connsiteY415" fmla="*/ 23124 h 344988"/>
                <a:gd name="connsiteX416" fmla="*/ 131887 w 344587"/>
                <a:gd name="connsiteY416" fmla="*/ 21468 h 344988"/>
                <a:gd name="connsiteX417" fmla="*/ 172307 w 344587"/>
                <a:gd name="connsiteY417" fmla="*/ 0 h 34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44587" h="344988">
                  <a:moveTo>
                    <a:pt x="167961" y="276672"/>
                  </a:moveTo>
                  <a:lnTo>
                    <a:pt x="168781" y="281441"/>
                  </a:lnTo>
                  <a:lnTo>
                    <a:pt x="165282" y="284827"/>
                  </a:lnTo>
                  <a:lnTo>
                    <a:pt x="170121" y="285532"/>
                  </a:lnTo>
                  <a:lnTo>
                    <a:pt x="172307" y="289894"/>
                  </a:lnTo>
                  <a:lnTo>
                    <a:pt x="174467" y="285532"/>
                  </a:lnTo>
                  <a:lnTo>
                    <a:pt x="179306" y="284827"/>
                  </a:lnTo>
                  <a:lnTo>
                    <a:pt x="175806" y="281441"/>
                  </a:lnTo>
                  <a:lnTo>
                    <a:pt x="176627" y="276672"/>
                  </a:lnTo>
                  <a:lnTo>
                    <a:pt x="172307" y="278921"/>
                  </a:lnTo>
                  <a:close/>
                  <a:moveTo>
                    <a:pt x="194527" y="274468"/>
                  </a:moveTo>
                  <a:lnTo>
                    <a:pt x="190704" y="277391"/>
                  </a:lnTo>
                  <a:lnTo>
                    <a:pt x="186127" y="275943"/>
                  </a:lnTo>
                  <a:lnTo>
                    <a:pt x="187742" y="280475"/>
                  </a:lnTo>
                  <a:lnTo>
                    <a:pt x="184915" y="284363"/>
                  </a:lnTo>
                  <a:lnTo>
                    <a:pt x="189761" y="284229"/>
                  </a:lnTo>
                  <a:lnTo>
                    <a:pt x="192615" y="288091"/>
                  </a:lnTo>
                  <a:lnTo>
                    <a:pt x="193961" y="283479"/>
                  </a:lnTo>
                  <a:lnTo>
                    <a:pt x="198538" y="281977"/>
                  </a:lnTo>
                  <a:lnTo>
                    <a:pt x="194554" y="279268"/>
                  </a:lnTo>
                  <a:close/>
                  <a:moveTo>
                    <a:pt x="149919" y="274468"/>
                  </a:moveTo>
                  <a:lnTo>
                    <a:pt x="149892" y="279268"/>
                  </a:lnTo>
                  <a:lnTo>
                    <a:pt x="145849" y="281977"/>
                  </a:lnTo>
                  <a:lnTo>
                    <a:pt x="150493" y="283479"/>
                  </a:lnTo>
                  <a:lnTo>
                    <a:pt x="151859" y="288091"/>
                  </a:lnTo>
                  <a:lnTo>
                    <a:pt x="154755" y="284229"/>
                  </a:lnTo>
                  <a:lnTo>
                    <a:pt x="159672" y="284363"/>
                  </a:lnTo>
                  <a:lnTo>
                    <a:pt x="156804" y="280475"/>
                  </a:lnTo>
                  <a:lnTo>
                    <a:pt x="158443" y="275943"/>
                  </a:lnTo>
                  <a:lnTo>
                    <a:pt x="153798" y="277391"/>
                  </a:lnTo>
                  <a:close/>
                  <a:moveTo>
                    <a:pt x="211844" y="268858"/>
                  </a:moveTo>
                  <a:lnTo>
                    <a:pt x="208584" y="272467"/>
                  </a:lnTo>
                  <a:lnTo>
                    <a:pt x="203747" y="271811"/>
                  </a:lnTo>
                  <a:lnTo>
                    <a:pt x="206165" y="276075"/>
                  </a:lnTo>
                  <a:lnTo>
                    <a:pt x="204046" y="280504"/>
                  </a:lnTo>
                  <a:lnTo>
                    <a:pt x="208828" y="279492"/>
                  </a:lnTo>
                  <a:lnTo>
                    <a:pt x="212334" y="282882"/>
                  </a:lnTo>
                  <a:lnTo>
                    <a:pt x="212877" y="278016"/>
                  </a:lnTo>
                  <a:lnTo>
                    <a:pt x="217170" y="275693"/>
                  </a:lnTo>
                  <a:lnTo>
                    <a:pt x="212714" y="273670"/>
                  </a:lnTo>
                  <a:close/>
                  <a:moveTo>
                    <a:pt x="132663" y="268858"/>
                  </a:moveTo>
                  <a:lnTo>
                    <a:pt x="131807" y="273670"/>
                  </a:lnTo>
                  <a:lnTo>
                    <a:pt x="127417" y="275693"/>
                  </a:lnTo>
                  <a:lnTo>
                    <a:pt x="131646" y="278016"/>
                  </a:lnTo>
                  <a:lnTo>
                    <a:pt x="132182" y="282882"/>
                  </a:lnTo>
                  <a:lnTo>
                    <a:pt x="135635" y="279492"/>
                  </a:lnTo>
                  <a:lnTo>
                    <a:pt x="140345" y="280504"/>
                  </a:lnTo>
                  <a:lnTo>
                    <a:pt x="138258" y="276075"/>
                  </a:lnTo>
                  <a:lnTo>
                    <a:pt x="140640" y="271811"/>
                  </a:lnTo>
                  <a:lnTo>
                    <a:pt x="135875" y="272467"/>
                  </a:lnTo>
                  <a:close/>
                  <a:moveTo>
                    <a:pt x="228015" y="260644"/>
                  </a:moveTo>
                  <a:lnTo>
                    <a:pt x="225418" y="264769"/>
                  </a:lnTo>
                  <a:lnTo>
                    <a:pt x="220576" y="264959"/>
                  </a:lnTo>
                  <a:lnTo>
                    <a:pt x="223687" y="268704"/>
                  </a:lnTo>
                  <a:lnTo>
                    <a:pt x="222361" y="273372"/>
                  </a:lnTo>
                  <a:lnTo>
                    <a:pt x="226879" y="271581"/>
                  </a:lnTo>
                  <a:lnTo>
                    <a:pt x="230910" y="274268"/>
                  </a:lnTo>
                  <a:lnTo>
                    <a:pt x="230585" y="269410"/>
                  </a:lnTo>
                  <a:lnTo>
                    <a:pt x="234399" y="266398"/>
                  </a:lnTo>
                  <a:lnTo>
                    <a:pt x="229692" y="265204"/>
                  </a:lnTo>
                  <a:close/>
                  <a:moveTo>
                    <a:pt x="116572" y="260644"/>
                  </a:moveTo>
                  <a:lnTo>
                    <a:pt x="114895" y="265204"/>
                  </a:lnTo>
                  <a:lnTo>
                    <a:pt x="110188" y="266398"/>
                  </a:lnTo>
                  <a:lnTo>
                    <a:pt x="114002" y="269410"/>
                  </a:lnTo>
                  <a:lnTo>
                    <a:pt x="113678" y="274268"/>
                  </a:lnTo>
                  <a:lnTo>
                    <a:pt x="117708" y="271581"/>
                  </a:lnTo>
                  <a:lnTo>
                    <a:pt x="122226" y="273372"/>
                  </a:lnTo>
                  <a:lnTo>
                    <a:pt x="120900" y="268704"/>
                  </a:lnTo>
                  <a:lnTo>
                    <a:pt x="124011" y="264959"/>
                  </a:lnTo>
                  <a:lnTo>
                    <a:pt x="119169" y="264769"/>
                  </a:lnTo>
                  <a:close/>
                  <a:moveTo>
                    <a:pt x="242363" y="249625"/>
                  </a:moveTo>
                  <a:lnTo>
                    <a:pt x="240527" y="254100"/>
                  </a:lnTo>
                  <a:lnTo>
                    <a:pt x="235802" y="255124"/>
                  </a:lnTo>
                  <a:lnTo>
                    <a:pt x="239501" y="258251"/>
                  </a:lnTo>
                  <a:lnTo>
                    <a:pt x="239015" y="263048"/>
                  </a:lnTo>
                  <a:lnTo>
                    <a:pt x="243119" y="260515"/>
                  </a:lnTo>
                  <a:lnTo>
                    <a:pt x="247546" y="262455"/>
                  </a:lnTo>
                  <a:lnTo>
                    <a:pt x="246413" y="257766"/>
                  </a:lnTo>
                  <a:lnTo>
                    <a:pt x="249625" y="254154"/>
                  </a:lnTo>
                  <a:lnTo>
                    <a:pt x="244792" y="253776"/>
                  </a:lnTo>
                  <a:close/>
                  <a:moveTo>
                    <a:pt x="102024" y="249625"/>
                  </a:moveTo>
                  <a:lnTo>
                    <a:pt x="99594" y="253776"/>
                  </a:lnTo>
                  <a:lnTo>
                    <a:pt x="94762" y="254154"/>
                  </a:lnTo>
                  <a:lnTo>
                    <a:pt x="97975" y="257766"/>
                  </a:lnTo>
                  <a:lnTo>
                    <a:pt x="96841" y="262455"/>
                  </a:lnTo>
                  <a:lnTo>
                    <a:pt x="101268" y="260515"/>
                  </a:lnTo>
                  <a:lnTo>
                    <a:pt x="105372" y="263048"/>
                  </a:lnTo>
                  <a:lnTo>
                    <a:pt x="104886" y="258251"/>
                  </a:lnTo>
                  <a:lnTo>
                    <a:pt x="108585" y="255124"/>
                  </a:lnTo>
                  <a:lnTo>
                    <a:pt x="103860" y="254100"/>
                  </a:lnTo>
                  <a:close/>
                  <a:moveTo>
                    <a:pt x="254712" y="236203"/>
                  </a:moveTo>
                  <a:lnTo>
                    <a:pt x="253690" y="240928"/>
                  </a:lnTo>
                  <a:lnTo>
                    <a:pt x="249225" y="242764"/>
                  </a:lnTo>
                  <a:lnTo>
                    <a:pt x="253394" y="245220"/>
                  </a:lnTo>
                  <a:lnTo>
                    <a:pt x="253771" y="250026"/>
                  </a:lnTo>
                  <a:lnTo>
                    <a:pt x="257348" y="246813"/>
                  </a:lnTo>
                  <a:lnTo>
                    <a:pt x="262056" y="247974"/>
                  </a:lnTo>
                  <a:lnTo>
                    <a:pt x="260119" y="243520"/>
                  </a:lnTo>
                  <a:lnTo>
                    <a:pt x="262648" y="239416"/>
                  </a:lnTo>
                  <a:lnTo>
                    <a:pt x="257833" y="239902"/>
                  </a:lnTo>
                  <a:close/>
                  <a:moveTo>
                    <a:pt x="89793" y="236203"/>
                  </a:moveTo>
                  <a:lnTo>
                    <a:pt x="86626" y="239902"/>
                  </a:lnTo>
                  <a:lnTo>
                    <a:pt x="81739" y="239416"/>
                  </a:lnTo>
                  <a:lnTo>
                    <a:pt x="84333" y="243520"/>
                  </a:lnTo>
                  <a:lnTo>
                    <a:pt x="82340" y="247974"/>
                  </a:lnTo>
                  <a:lnTo>
                    <a:pt x="87118" y="246813"/>
                  </a:lnTo>
                  <a:lnTo>
                    <a:pt x="90749" y="250026"/>
                  </a:lnTo>
                  <a:lnTo>
                    <a:pt x="91131" y="245220"/>
                  </a:lnTo>
                  <a:lnTo>
                    <a:pt x="95363" y="242764"/>
                  </a:lnTo>
                  <a:lnTo>
                    <a:pt x="90831" y="240928"/>
                  </a:lnTo>
                  <a:close/>
                  <a:moveTo>
                    <a:pt x="264558" y="220977"/>
                  </a:moveTo>
                  <a:lnTo>
                    <a:pt x="264341" y="225819"/>
                  </a:lnTo>
                  <a:lnTo>
                    <a:pt x="260243" y="228416"/>
                  </a:lnTo>
                  <a:lnTo>
                    <a:pt x="264803" y="230093"/>
                  </a:lnTo>
                  <a:lnTo>
                    <a:pt x="265997" y="234800"/>
                  </a:lnTo>
                  <a:lnTo>
                    <a:pt x="269009" y="230986"/>
                  </a:lnTo>
                  <a:lnTo>
                    <a:pt x="273867" y="231311"/>
                  </a:lnTo>
                  <a:lnTo>
                    <a:pt x="271180" y="227280"/>
                  </a:lnTo>
                  <a:lnTo>
                    <a:pt x="272971" y="222762"/>
                  </a:lnTo>
                  <a:lnTo>
                    <a:pt x="268276" y="224088"/>
                  </a:lnTo>
                  <a:close/>
                  <a:moveTo>
                    <a:pt x="80029" y="220977"/>
                  </a:moveTo>
                  <a:lnTo>
                    <a:pt x="76311" y="224088"/>
                  </a:lnTo>
                  <a:lnTo>
                    <a:pt x="71616" y="222762"/>
                  </a:lnTo>
                  <a:lnTo>
                    <a:pt x="73407" y="227280"/>
                  </a:lnTo>
                  <a:lnTo>
                    <a:pt x="70721" y="231311"/>
                  </a:lnTo>
                  <a:lnTo>
                    <a:pt x="75578" y="230986"/>
                  </a:lnTo>
                  <a:lnTo>
                    <a:pt x="78590" y="234800"/>
                  </a:lnTo>
                  <a:lnTo>
                    <a:pt x="79785" y="230093"/>
                  </a:lnTo>
                  <a:lnTo>
                    <a:pt x="84344" y="228416"/>
                  </a:lnTo>
                  <a:lnTo>
                    <a:pt x="80246" y="225819"/>
                  </a:lnTo>
                  <a:close/>
                  <a:moveTo>
                    <a:pt x="271410" y="204148"/>
                  </a:moveTo>
                  <a:lnTo>
                    <a:pt x="272066" y="208985"/>
                  </a:lnTo>
                  <a:lnTo>
                    <a:pt x="268457" y="212245"/>
                  </a:lnTo>
                  <a:lnTo>
                    <a:pt x="273269" y="213115"/>
                  </a:lnTo>
                  <a:lnTo>
                    <a:pt x="275292" y="217571"/>
                  </a:lnTo>
                  <a:lnTo>
                    <a:pt x="277615" y="213278"/>
                  </a:lnTo>
                  <a:lnTo>
                    <a:pt x="282481" y="212734"/>
                  </a:lnTo>
                  <a:lnTo>
                    <a:pt x="279091" y="209229"/>
                  </a:lnTo>
                  <a:lnTo>
                    <a:pt x="280076" y="204447"/>
                  </a:lnTo>
                  <a:lnTo>
                    <a:pt x="275674" y="206566"/>
                  </a:lnTo>
                  <a:close/>
                  <a:moveTo>
                    <a:pt x="73019" y="204148"/>
                  </a:moveTo>
                  <a:lnTo>
                    <a:pt x="68816" y="206566"/>
                  </a:lnTo>
                  <a:lnTo>
                    <a:pt x="64477" y="204447"/>
                  </a:lnTo>
                  <a:lnTo>
                    <a:pt x="65447" y="209229"/>
                  </a:lnTo>
                  <a:lnTo>
                    <a:pt x="62106" y="212734"/>
                  </a:lnTo>
                  <a:lnTo>
                    <a:pt x="66903" y="213278"/>
                  </a:lnTo>
                  <a:lnTo>
                    <a:pt x="69193" y="217571"/>
                  </a:lnTo>
                  <a:lnTo>
                    <a:pt x="71187" y="213115"/>
                  </a:lnTo>
                  <a:lnTo>
                    <a:pt x="75929" y="212245"/>
                  </a:lnTo>
                  <a:lnTo>
                    <a:pt x="72373" y="208985"/>
                  </a:lnTo>
                  <a:close/>
                  <a:moveTo>
                    <a:pt x="283915" y="185116"/>
                  </a:moveTo>
                  <a:lnTo>
                    <a:pt x="279950" y="187963"/>
                  </a:lnTo>
                  <a:lnTo>
                    <a:pt x="275388" y="186320"/>
                  </a:lnTo>
                  <a:lnTo>
                    <a:pt x="276854" y="191001"/>
                  </a:lnTo>
                  <a:lnTo>
                    <a:pt x="273867" y="194861"/>
                  </a:lnTo>
                  <a:lnTo>
                    <a:pt x="278755" y="194888"/>
                  </a:lnTo>
                  <a:lnTo>
                    <a:pt x="281498" y="198939"/>
                  </a:lnTo>
                  <a:lnTo>
                    <a:pt x="283019" y="194286"/>
                  </a:lnTo>
                  <a:lnTo>
                    <a:pt x="287690" y="192917"/>
                  </a:lnTo>
                  <a:lnTo>
                    <a:pt x="283780" y="190015"/>
                  </a:lnTo>
                  <a:close/>
                  <a:moveTo>
                    <a:pt x="60472" y="185116"/>
                  </a:moveTo>
                  <a:lnTo>
                    <a:pt x="60608" y="190015"/>
                  </a:lnTo>
                  <a:lnTo>
                    <a:pt x="56697" y="192917"/>
                  </a:lnTo>
                  <a:lnTo>
                    <a:pt x="61368" y="194286"/>
                  </a:lnTo>
                  <a:lnTo>
                    <a:pt x="62889" y="198939"/>
                  </a:lnTo>
                  <a:lnTo>
                    <a:pt x="65632" y="194888"/>
                  </a:lnTo>
                  <a:lnTo>
                    <a:pt x="70520" y="194861"/>
                  </a:lnTo>
                  <a:lnTo>
                    <a:pt x="67533" y="191001"/>
                  </a:lnTo>
                  <a:lnTo>
                    <a:pt x="68999" y="186320"/>
                  </a:lnTo>
                  <a:lnTo>
                    <a:pt x="64437" y="187963"/>
                  </a:lnTo>
                  <a:close/>
                  <a:moveTo>
                    <a:pt x="284437" y="165482"/>
                  </a:moveTo>
                  <a:lnTo>
                    <a:pt x="281057" y="168981"/>
                  </a:lnTo>
                  <a:lnTo>
                    <a:pt x="276271" y="168161"/>
                  </a:lnTo>
                  <a:lnTo>
                    <a:pt x="278542" y="172508"/>
                  </a:lnTo>
                  <a:lnTo>
                    <a:pt x="276271" y="176827"/>
                  </a:lnTo>
                  <a:lnTo>
                    <a:pt x="281057" y="176007"/>
                  </a:lnTo>
                  <a:lnTo>
                    <a:pt x="284437" y="179506"/>
                  </a:lnTo>
                  <a:lnTo>
                    <a:pt x="285140" y="174667"/>
                  </a:lnTo>
                  <a:lnTo>
                    <a:pt x="289493" y="172508"/>
                  </a:lnTo>
                  <a:lnTo>
                    <a:pt x="285140" y="170321"/>
                  </a:lnTo>
                  <a:close/>
                  <a:moveTo>
                    <a:pt x="60027" y="165482"/>
                  </a:moveTo>
                  <a:lnTo>
                    <a:pt x="59313" y="170321"/>
                  </a:lnTo>
                  <a:lnTo>
                    <a:pt x="54894" y="172508"/>
                  </a:lnTo>
                  <a:lnTo>
                    <a:pt x="59313" y="174667"/>
                  </a:lnTo>
                  <a:lnTo>
                    <a:pt x="60027" y="179506"/>
                  </a:lnTo>
                  <a:lnTo>
                    <a:pt x="63458" y="176007"/>
                  </a:lnTo>
                  <a:lnTo>
                    <a:pt x="68317" y="176827"/>
                  </a:lnTo>
                  <a:lnTo>
                    <a:pt x="66011" y="172508"/>
                  </a:lnTo>
                  <a:lnTo>
                    <a:pt x="68317" y="168161"/>
                  </a:lnTo>
                  <a:lnTo>
                    <a:pt x="63458" y="168981"/>
                  </a:lnTo>
                  <a:close/>
                  <a:moveTo>
                    <a:pt x="281498" y="146049"/>
                  </a:moveTo>
                  <a:lnTo>
                    <a:pt x="278755" y="150092"/>
                  </a:lnTo>
                  <a:lnTo>
                    <a:pt x="273867" y="150120"/>
                  </a:lnTo>
                  <a:lnTo>
                    <a:pt x="276854" y="153999"/>
                  </a:lnTo>
                  <a:lnTo>
                    <a:pt x="275388" y="158670"/>
                  </a:lnTo>
                  <a:lnTo>
                    <a:pt x="279950" y="157004"/>
                  </a:lnTo>
                  <a:lnTo>
                    <a:pt x="283915" y="159872"/>
                  </a:lnTo>
                  <a:lnTo>
                    <a:pt x="283780" y="154955"/>
                  </a:lnTo>
                  <a:lnTo>
                    <a:pt x="287690" y="152059"/>
                  </a:lnTo>
                  <a:lnTo>
                    <a:pt x="283019" y="150693"/>
                  </a:lnTo>
                  <a:close/>
                  <a:moveTo>
                    <a:pt x="62889" y="146049"/>
                  </a:moveTo>
                  <a:lnTo>
                    <a:pt x="61368" y="150693"/>
                  </a:lnTo>
                  <a:lnTo>
                    <a:pt x="56697" y="152059"/>
                  </a:lnTo>
                  <a:lnTo>
                    <a:pt x="60608" y="154955"/>
                  </a:lnTo>
                  <a:lnTo>
                    <a:pt x="60472" y="159872"/>
                  </a:lnTo>
                  <a:lnTo>
                    <a:pt x="64437" y="157004"/>
                  </a:lnTo>
                  <a:lnTo>
                    <a:pt x="68999" y="158670"/>
                  </a:lnTo>
                  <a:lnTo>
                    <a:pt x="67533" y="153999"/>
                  </a:lnTo>
                  <a:lnTo>
                    <a:pt x="70520" y="150120"/>
                  </a:lnTo>
                  <a:lnTo>
                    <a:pt x="65632" y="150092"/>
                  </a:lnTo>
                  <a:close/>
                  <a:moveTo>
                    <a:pt x="275292" y="127618"/>
                  </a:moveTo>
                  <a:lnTo>
                    <a:pt x="273269" y="132007"/>
                  </a:lnTo>
                  <a:lnTo>
                    <a:pt x="268457" y="132864"/>
                  </a:lnTo>
                  <a:lnTo>
                    <a:pt x="272066" y="136103"/>
                  </a:lnTo>
                  <a:lnTo>
                    <a:pt x="271410" y="140840"/>
                  </a:lnTo>
                  <a:lnTo>
                    <a:pt x="275674" y="138458"/>
                  </a:lnTo>
                  <a:lnTo>
                    <a:pt x="280076" y="140546"/>
                  </a:lnTo>
                  <a:lnTo>
                    <a:pt x="279091" y="135862"/>
                  </a:lnTo>
                  <a:lnTo>
                    <a:pt x="282481" y="132382"/>
                  </a:lnTo>
                  <a:lnTo>
                    <a:pt x="277615" y="131847"/>
                  </a:lnTo>
                  <a:close/>
                  <a:moveTo>
                    <a:pt x="69193" y="127618"/>
                  </a:moveTo>
                  <a:lnTo>
                    <a:pt x="66903" y="131847"/>
                  </a:lnTo>
                  <a:lnTo>
                    <a:pt x="62106" y="132382"/>
                  </a:lnTo>
                  <a:lnTo>
                    <a:pt x="65447" y="135862"/>
                  </a:lnTo>
                  <a:lnTo>
                    <a:pt x="64477" y="140546"/>
                  </a:lnTo>
                  <a:lnTo>
                    <a:pt x="68816" y="138458"/>
                  </a:lnTo>
                  <a:lnTo>
                    <a:pt x="73019" y="140840"/>
                  </a:lnTo>
                  <a:lnTo>
                    <a:pt x="72373" y="136103"/>
                  </a:lnTo>
                  <a:lnTo>
                    <a:pt x="75929" y="132864"/>
                  </a:lnTo>
                  <a:lnTo>
                    <a:pt x="71187" y="132007"/>
                  </a:lnTo>
                  <a:close/>
                  <a:moveTo>
                    <a:pt x="265997" y="110188"/>
                  </a:moveTo>
                  <a:lnTo>
                    <a:pt x="264803" y="114963"/>
                  </a:lnTo>
                  <a:lnTo>
                    <a:pt x="260243" y="116665"/>
                  </a:lnTo>
                  <a:lnTo>
                    <a:pt x="264341" y="119299"/>
                  </a:lnTo>
                  <a:lnTo>
                    <a:pt x="264558" y="124212"/>
                  </a:lnTo>
                  <a:lnTo>
                    <a:pt x="268276" y="121083"/>
                  </a:lnTo>
                  <a:lnTo>
                    <a:pt x="272971" y="122401"/>
                  </a:lnTo>
                  <a:lnTo>
                    <a:pt x="271180" y="117845"/>
                  </a:lnTo>
                  <a:lnTo>
                    <a:pt x="273867" y="113756"/>
                  </a:lnTo>
                  <a:lnTo>
                    <a:pt x="269009" y="114057"/>
                  </a:lnTo>
                  <a:close/>
                  <a:moveTo>
                    <a:pt x="78590" y="110188"/>
                  </a:moveTo>
                  <a:lnTo>
                    <a:pt x="75578" y="114057"/>
                  </a:lnTo>
                  <a:lnTo>
                    <a:pt x="70721" y="113756"/>
                  </a:lnTo>
                  <a:lnTo>
                    <a:pt x="73407" y="117845"/>
                  </a:lnTo>
                  <a:lnTo>
                    <a:pt x="71616" y="122401"/>
                  </a:lnTo>
                  <a:lnTo>
                    <a:pt x="76311" y="121083"/>
                  </a:lnTo>
                  <a:lnTo>
                    <a:pt x="80029" y="124212"/>
                  </a:lnTo>
                  <a:lnTo>
                    <a:pt x="80246" y="119299"/>
                  </a:lnTo>
                  <a:lnTo>
                    <a:pt x="84344" y="116665"/>
                  </a:lnTo>
                  <a:lnTo>
                    <a:pt x="79785" y="114963"/>
                  </a:lnTo>
                  <a:close/>
                  <a:moveTo>
                    <a:pt x="172293" y="107507"/>
                  </a:moveTo>
                  <a:cubicBezTo>
                    <a:pt x="169195" y="107507"/>
                    <a:pt x="166097" y="109253"/>
                    <a:pt x="164742" y="112163"/>
                  </a:cubicBezTo>
                  <a:lnTo>
                    <a:pt x="148477" y="145335"/>
                  </a:lnTo>
                  <a:lnTo>
                    <a:pt x="111881" y="150766"/>
                  </a:lnTo>
                  <a:cubicBezTo>
                    <a:pt x="108589" y="151154"/>
                    <a:pt x="106072" y="153482"/>
                    <a:pt x="104910" y="156392"/>
                  </a:cubicBezTo>
                  <a:cubicBezTo>
                    <a:pt x="103942" y="159496"/>
                    <a:pt x="104910" y="162988"/>
                    <a:pt x="107234" y="165121"/>
                  </a:cubicBezTo>
                  <a:lnTo>
                    <a:pt x="133567" y="190922"/>
                  </a:lnTo>
                  <a:lnTo>
                    <a:pt x="127371" y="227392"/>
                  </a:lnTo>
                  <a:cubicBezTo>
                    <a:pt x="126790" y="230689"/>
                    <a:pt x="128146" y="233987"/>
                    <a:pt x="130663" y="235733"/>
                  </a:cubicBezTo>
                  <a:cubicBezTo>
                    <a:pt x="132212" y="236897"/>
                    <a:pt x="133955" y="237479"/>
                    <a:pt x="135697" y="237479"/>
                  </a:cubicBezTo>
                  <a:cubicBezTo>
                    <a:pt x="137053" y="237479"/>
                    <a:pt x="138408" y="237091"/>
                    <a:pt x="139570" y="236509"/>
                  </a:cubicBezTo>
                  <a:lnTo>
                    <a:pt x="172293" y="219244"/>
                  </a:lnTo>
                  <a:lnTo>
                    <a:pt x="205016" y="236509"/>
                  </a:lnTo>
                  <a:cubicBezTo>
                    <a:pt x="206372" y="237091"/>
                    <a:pt x="207727" y="237479"/>
                    <a:pt x="209083" y="237479"/>
                  </a:cubicBezTo>
                  <a:cubicBezTo>
                    <a:pt x="210825" y="237479"/>
                    <a:pt x="212568" y="236897"/>
                    <a:pt x="213923" y="235733"/>
                  </a:cubicBezTo>
                  <a:cubicBezTo>
                    <a:pt x="216634" y="233987"/>
                    <a:pt x="217990" y="230689"/>
                    <a:pt x="217409" y="227392"/>
                  </a:cubicBezTo>
                  <a:lnTo>
                    <a:pt x="211213" y="190922"/>
                  </a:lnTo>
                  <a:lnTo>
                    <a:pt x="237546" y="165121"/>
                  </a:lnTo>
                  <a:cubicBezTo>
                    <a:pt x="239870" y="162988"/>
                    <a:pt x="240644" y="159496"/>
                    <a:pt x="239676" y="156392"/>
                  </a:cubicBezTo>
                  <a:cubicBezTo>
                    <a:pt x="238708" y="153482"/>
                    <a:pt x="235997" y="151154"/>
                    <a:pt x="232899" y="150766"/>
                  </a:cubicBezTo>
                  <a:lnTo>
                    <a:pt x="196303" y="145335"/>
                  </a:lnTo>
                  <a:lnTo>
                    <a:pt x="180038" y="112163"/>
                  </a:lnTo>
                  <a:cubicBezTo>
                    <a:pt x="178489" y="109253"/>
                    <a:pt x="175585" y="107507"/>
                    <a:pt x="172293" y="107507"/>
                  </a:cubicBezTo>
                  <a:close/>
                  <a:moveTo>
                    <a:pt x="253771" y="94962"/>
                  </a:moveTo>
                  <a:lnTo>
                    <a:pt x="253394" y="99795"/>
                  </a:lnTo>
                  <a:lnTo>
                    <a:pt x="249225" y="102225"/>
                  </a:lnTo>
                  <a:lnTo>
                    <a:pt x="253690" y="104061"/>
                  </a:lnTo>
                  <a:lnTo>
                    <a:pt x="254712" y="108785"/>
                  </a:lnTo>
                  <a:lnTo>
                    <a:pt x="257833" y="105114"/>
                  </a:lnTo>
                  <a:lnTo>
                    <a:pt x="262648" y="105573"/>
                  </a:lnTo>
                  <a:lnTo>
                    <a:pt x="260119" y="101469"/>
                  </a:lnTo>
                  <a:lnTo>
                    <a:pt x="262056" y="97041"/>
                  </a:lnTo>
                  <a:lnTo>
                    <a:pt x="257348" y="98175"/>
                  </a:lnTo>
                  <a:close/>
                  <a:moveTo>
                    <a:pt x="90749" y="94962"/>
                  </a:moveTo>
                  <a:lnTo>
                    <a:pt x="87118" y="98175"/>
                  </a:lnTo>
                  <a:lnTo>
                    <a:pt x="82340" y="97041"/>
                  </a:lnTo>
                  <a:lnTo>
                    <a:pt x="84333" y="101469"/>
                  </a:lnTo>
                  <a:lnTo>
                    <a:pt x="81739" y="105573"/>
                  </a:lnTo>
                  <a:lnTo>
                    <a:pt x="86626" y="105114"/>
                  </a:lnTo>
                  <a:lnTo>
                    <a:pt x="89793" y="108785"/>
                  </a:lnTo>
                  <a:lnTo>
                    <a:pt x="90831" y="104061"/>
                  </a:lnTo>
                  <a:lnTo>
                    <a:pt x="95363" y="102225"/>
                  </a:lnTo>
                  <a:lnTo>
                    <a:pt x="91131" y="99795"/>
                  </a:lnTo>
                  <a:close/>
                  <a:moveTo>
                    <a:pt x="239015" y="81940"/>
                  </a:moveTo>
                  <a:lnTo>
                    <a:pt x="239501" y="86827"/>
                  </a:lnTo>
                  <a:lnTo>
                    <a:pt x="235802" y="89993"/>
                  </a:lnTo>
                  <a:lnTo>
                    <a:pt x="240527" y="91031"/>
                  </a:lnTo>
                  <a:lnTo>
                    <a:pt x="242363" y="95563"/>
                  </a:lnTo>
                  <a:lnTo>
                    <a:pt x="244792" y="91331"/>
                  </a:lnTo>
                  <a:lnTo>
                    <a:pt x="249625" y="90976"/>
                  </a:lnTo>
                  <a:lnTo>
                    <a:pt x="246413" y="87318"/>
                  </a:lnTo>
                  <a:lnTo>
                    <a:pt x="247546" y="82568"/>
                  </a:lnTo>
                  <a:lnTo>
                    <a:pt x="243119" y="84533"/>
                  </a:lnTo>
                  <a:close/>
                  <a:moveTo>
                    <a:pt x="105372" y="81940"/>
                  </a:moveTo>
                  <a:lnTo>
                    <a:pt x="101268" y="84533"/>
                  </a:lnTo>
                  <a:lnTo>
                    <a:pt x="96841" y="82568"/>
                  </a:lnTo>
                  <a:lnTo>
                    <a:pt x="97975" y="87318"/>
                  </a:lnTo>
                  <a:lnTo>
                    <a:pt x="94762" y="90976"/>
                  </a:lnTo>
                  <a:lnTo>
                    <a:pt x="99594" y="91331"/>
                  </a:lnTo>
                  <a:lnTo>
                    <a:pt x="102024" y="95563"/>
                  </a:lnTo>
                  <a:lnTo>
                    <a:pt x="103860" y="91031"/>
                  </a:lnTo>
                  <a:lnTo>
                    <a:pt x="108585" y="89993"/>
                  </a:lnTo>
                  <a:lnTo>
                    <a:pt x="104886" y="86827"/>
                  </a:lnTo>
                  <a:close/>
                  <a:moveTo>
                    <a:pt x="230910" y="70720"/>
                  </a:moveTo>
                  <a:lnTo>
                    <a:pt x="226879" y="73474"/>
                  </a:lnTo>
                  <a:lnTo>
                    <a:pt x="222361" y="71629"/>
                  </a:lnTo>
                  <a:lnTo>
                    <a:pt x="223687" y="76393"/>
                  </a:lnTo>
                  <a:lnTo>
                    <a:pt x="220576" y="80193"/>
                  </a:lnTo>
                  <a:lnTo>
                    <a:pt x="225418" y="80386"/>
                  </a:lnTo>
                  <a:lnTo>
                    <a:pt x="228015" y="84544"/>
                  </a:lnTo>
                  <a:lnTo>
                    <a:pt x="229692" y="79918"/>
                  </a:lnTo>
                  <a:lnTo>
                    <a:pt x="234399" y="78706"/>
                  </a:lnTo>
                  <a:lnTo>
                    <a:pt x="230585" y="75650"/>
                  </a:lnTo>
                  <a:close/>
                  <a:moveTo>
                    <a:pt x="113678" y="70720"/>
                  </a:moveTo>
                  <a:lnTo>
                    <a:pt x="114002" y="75650"/>
                  </a:lnTo>
                  <a:lnTo>
                    <a:pt x="110188" y="78706"/>
                  </a:lnTo>
                  <a:lnTo>
                    <a:pt x="114895" y="79918"/>
                  </a:lnTo>
                  <a:lnTo>
                    <a:pt x="116572" y="84544"/>
                  </a:lnTo>
                  <a:lnTo>
                    <a:pt x="119169" y="80386"/>
                  </a:lnTo>
                  <a:lnTo>
                    <a:pt x="124011" y="80193"/>
                  </a:lnTo>
                  <a:lnTo>
                    <a:pt x="120900" y="76393"/>
                  </a:lnTo>
                  <a:lnTo>
                    <a:pt x="122226" y="71629"/>
                  </a:lnTo>
                  <a:lnTo>
                    <a:pt x="117708" y="73474"/>
                  </a:lnTo>
                  <a:close/>
                  <a:moveTo>
                    <a:pt x="212334" y="62106"/>
                  </a:moveTo>
                  <a:lnTo>
                    <a:pt x="208828" y="65489"/>
                  </a:lnTo>
                  <a:lnTo>
                    <a:pt x="204046" y="64507"/>
                  </a:lnTo>
                  <a:lnTo>
                    <a:pt x="206165" y="68900"/>
                  </a:lnTo>
                  <a:lnTo>
                    <a:pt x="203747" y="73156"/>
                  </a:lnTo>
                  <a:lnTo>
                    <a:pt x="208584" y="72501"/>
                  </a:lnTo>
                  <a:lnTo>
                    <a:pt x="211844" y="76130"/>
                  </a:lnTo>
                  <a:lnTo>
                    <a:pt x="212714" y="71301"/>
                  </a:lnTo>
                  <a:lnTo>
                    <a:pt x="217170" y="69282"/>
                  </a:lnTo>
                  <a:lnTo>
                    <a:pt x="212877" y="66962"/>
                  </a:lnTo>
                  <a:close/>
                  <a:moveTo>
                    <a:pt x="132182" y="62106"/>
                  </a:moveTo>
                  <a:lnTo>
                    <a:pt x="131646" y="66962"/>
                  </a:lnTo>
                  <a:lnTo>
                    <a:pt x="127417" y="69282"/>
                  </a:lnTo>
                  <a:lnTo>
                    <a:pt x="131807" y="71301"/>
                  </a:lnTo>
                  <a:lnTo>
                    <a:pt x="132663" y="76130"/>
                  </a:lnTo>
                  <a:lnTo>
                    <a:pt x="135875" y="72501"/>
                  </a:lnTo>
                  <a:lnTo>
                    <a:pt x="140640" y="73156"/>
                  </a:lnTo>
                  <a:lnTo>
                    <a:pt x="138258" y="68900"/>
                  </a:lnTo>
                  <a:lnTo>
                    <a:pt x="140345" y="64507"/>
                  </a:lnTo>
                  <a:lnTo>
                    <a:pt x="135635" y="65489"/>
                  </a:lnTo>
                  <a:close/>
                  <a:moveTo>
                    <a:pt x="192615" y="56897"/>
                  </a:moveTo>
                  <a:lnTo>
                    <a:pt x="189761" y="60835"/>
                  </a:lnTo>
                  <a:lnTo>
                    <a:pt x="184915" y="60672"/>
                  </a:lnTo>
                  <a:lnTo>
                    <a:pt x="187742" y="64637"/>
                  </a:lnTo>
                  <a:lnTo>
                    <a:pt x="186127" y="69227"/>
                  </a:lnTo>
                  <a:lnTo>
                    <a:pt x="190704" y="67733"/>
                  </a:lnTo>
                  <a:lnTo>
                    <a:pt x="194527" y="70720"/>
                  </a:lnTo>
                  <a:lnTo>
                    <a:pt x="194554" y="65832"/>
                  </a:lnTo>
                  <a:lnTo>
                    <a:pt x="198538" y="63089"/>
                  </a:lnTo>
                  <a:lnTo>
                    <a:pt x="193961" y="61568"/>
                  </a:lnTo>
                  <a:close/>
                  <a:moveTo>
                    <a:pt x="151859" y="56897"/>
                  </a:moveTo>
                  <a:lnTo>
                    <a:pt x="150493" y="61568"/>
                  </a:lnTo>
                  <a:lnTo>
                    <a:pt x="145849" y="63089"/>
                  </a:lnTo>
                  <a:lnTo>
                    <a:pt x="149892" y="65832"/>
                  </a:lnTo>
                  <a:lnTo>
                    <a:pt x="149919" y="70720"/>
                  </a:lnTo>
                  <a:lnTo>
                    <a:pt x="153798" y="67733"/>
                  </a:lnTo>
                  <a:lnTo>
                    <a:pt x="158443" y="69227"/>
                  </a:lnTo>
                  <a:lnTo>
                    <a:pt x="156804" y="64637"/>
                  </a:lnTo>
                  <a:lnTo>
                    <a:pt x="159672" y="60672"/>
                  </a:lnTo>
                  <a:lnTo>
                    <a:pt x="154755" y="60835"/>
                  </a:lnTo>
                  <a:close/>
                  <a:moveTo>
                    <a:pt x="172307" y="55094"/>
                  </a:moveTo>
                  <a:lnTo>
                    <a:pt x="170121" y="59447"/>
                  </a:lnTo>
                  <a:lnTo>
                    <a:pt x="165282" y="60150"/>
                  </a:lnTo>
                  <a:lnTo>
                    <a:pt x="168781" y="63530"/>
                  </a:lnTo>
                  <a:lnTo>
                    <a:pt x="167961" y="68316"/>
                  </a:lnTo>
                  <a:lnTo>
                    <a:pt x="172307" y="66045"/>
                  </a:lnTo>
                  <a:lnTo>
                    <a:pt x="176627" y="68316"/>
                  </a:lnTo>
                  <a:lnTo>
                    <a:pt x="175806" y="63530"/>
                  </a:lnTo>
                  <a:lnTo>
                    <a:pt x="179306" y="60150"/>
                  </a:lnTo>
                  <a:lnTo>
                    <a:pt x="174467" y="59447"/>
                  </a:lnTo>
                  <a:close/>
                  <a:moveTo>
                    <a:pt x="171615" y="48293"/>
                  </a:moveTo>
                  <a:cubicBezTo>
                    <a:pt x="239051" y="48293"/>
                    <a:pt x="293719" y="102961"/>
                    <a:pt x="293719" y="170398"/>
                  </a:cubicBezTo>
                  <a:cubicBezTo>
                    <a:pt x="293719" y="237834"/>
                    <a:pt x="239051" y="292503"/>
                    <a:pt x="171615" y="292503"/>
                  </a:cubicBezTo>
                  <a:cubicBezTo>
                    <a:pt x="104179" y="292503"/>
                    <a:pt x="49510" y="237834"/>
                    <a:pt x="49510" y="170398"/>
                  </a:cubicBezTo>
                  <a:cubicBezTo>
                    <a:pt x="49510" y="102961"/>
                    <a:pt x="104179" y="48293"/>
                    <a:pt x="171615" y="48293"/>
                  </a:cubicBezTo>
                  <a:close/>
                  <a:moveTo>
                    <a:pt x="171615" y="34348"/>
                  </a:moveTo>
                  <a:cubicBezTo>
                    <a:pt x="96477" y="34348"/>
                    <a:pt x="35565" y="95260"/>
                    <a:pt x="35565" y="170398"/>
                  </a:cubicBezTo>
                  <a:cubicBezTo>
                    <a:pt x="35565" y="245536"/>
                    <a:pt x="96477" y="306448"/>
                    <a:pt x="171615" y="306448"/>
                  </a:cubicBezTo>
                  <a:cubicBezTo>
                    <a:pt x="246753" y="306448"/>
                    <a:pt x="307665" y="245536"/>
                    <a:pt x="307665" y="170398"/>
                  </a:cubicBezTo>
                  <a:cubicBezTo>
                    <a:pt x="307665" y="95260"/>
                    <a:pt x="246753" y="34348"/>
                    <a:pt x="171615" y="34348"/>
                  </a:cubicBezTo>
                  <a:close/>
                  <a:moveTo>
                    <a:pt x="172307" y="0"/>
                  </a:moveTo>
                  <a:cubicBezTo>
                    <a:pt x="186784" y="0"/>
                    <a:pt x="198956" y="17777"/>
                    <a:pt x="212700" y="21468"/>
                  </a:cubicBezTo>
                  <a:cubicBezTo>
                    <a:pt x="226580" y="25187"/>
                    <a:pt x="246018" y="15932"/>
                    <a:pt x="258434" y="23124"/>
                  </a:cubicBezTo>
                  <a:cubicBezTo>
                    <a:pt x="270768" y="30235"/>
                    <a:pt x="272476" y="51703"/>
                    <a:pt x="282724" y="61936"/>
                  </a:cubicBezTo>
                  <a:cubicBezTo>
                    <a:pt x="292944" y="72195"/>
                    <a:pt x="314387" y="73905"/>
                    <a:pt x="321490" y="86254"/>
                  </a:cubicBezTo>
                  <a:cubicBezTo>
                    <a:pt x="328674" y="98684"/>
                    <a:pt x="319430" y="118144"/>
                    <a:pt x="323144" y="132040"/>
                  </a:cubicBezTo>
                  <a:cubicBezTo>
                    <a:pt x="326831" y="145801"/>
                    <a:pt x="344587" y="158014"/>
                    <a:pt x="344587" y="172508"/>
                  </a:cubicBezTo>
                  <a:cubicBezTo>
                    <a:pt x="344587" y="187001"/>
                    <a:pt x="326831" y="199214"/>
                    <a:pt x="323144" y="212975"/>
                  </a:cubicBezTo>
                  <a:cubicBezTo>
                    <a:pt x="319430" y="226844"/>
                    <a:pt x="328674" y="246304"/>
                    <a:pt x="321490" y="258734"/>
                  </a:cubicBezTo>
                  <a:cubicBezTo>
                    <a:pt x="314387" y="271083"/>
                    <a:pt x="292944" y="272793"/>
                    <a:pt x="282724" y="283052"/>
                  </a:cubicBezTo>
                  <a:cubicBezTo>
                    <a:pt x="272476" y="293312"/>
                    <a:pt x="270768" y="314753"/>
                    <a:pt x="258434" y="321891"/>
                  </a:cubicBezTo>
                  <a:cubicBezTo>
                    <a:pt x="246018" y="329056"/>
                    <a:pt x="226580" y="319801"/>
                    <a:pt x="212700" y="323520"/>
                  </a:cubicBezTo>
                  <a:cubicBezTo>
                    <a:pt x="198956" y="327211"/>
                    <a:pt x="186784" y="344988"/>
                    <a:pt x="172307" y="344988"/>
                  </a:cubicBezTo>
                  <a:cubicBezTo>
                    <a:pt x="157804" y="344988"/>
                    <a:pt x="145632" y="327211"/>
                    <a:pt x="131887" y="323520"/>
                  </a:cubicBezTo>
                  <a:cubicBezTo>
                    <a:pt x="118007" y="319801"/>
                    <a:pt x="98570" y="329056"/>
                    <a:pt x="86154" y="321891"/>
                  </a:cubicBezTo>
                  <a:cubicBezTo>
                    <a:pt x="73819" y="314753"/>
                    <a:pt x="72111" y="293312"/>
                    <a:pt x="61864" y="283052"/>
                  </a:cubicBezTo>
                  <a:cubicBezTo>
                    <a:pt x="51644" y="272793"/>
                    <a:pt x="30200" y="271083"/>
                    <a:pt x="23097" y="258734"/>
                  </a:cubicBezTo>
                  <a:cubicBezTo>
                    <a:pt x="15913" y="246304"/>
                    <a:pt x="25158" y="226844"/>
                    <a:pt x="21444" y="212975"/>
                  </a:cubicBezTo>
                  <a:cubicBezTo>
                    <a:pt x="17757" y="199214"/>
                    <a:pt x="0" y="187001"/>
                    <a:pt x="0" y="172508"/>
                  </a:cubicBezTo>
                  <a:cubicBezTo>
                    <a:pt x="0" y="158014"/>
                    <a:pt x="17757" y="145801"/>
                    <a:pt x="21444" y="132040"/>
                  </a:cubicBezTo>
                  <a:cubicBezTo>
                    <a:pt x="25158" y="118144"/>
                    <a:pt x="15913" y="98684"/>
                    <a:pt x="23097" y="86254"/>
                  </a:cubicBezTo>
                  <a:cubicBezTo>
                    <a:pt x="30200" y="73905"/>
                    <a:pt x="51644" y="72195"/>
                    <a:pt x="61864" y="61936"/>
                  </a:cubicBezTo>
                  <a:cubicBezTo>
                    <a:pt x="72111" y="51703"/>
                    <a:pt x="73819" y="30235"/>
                    <a:pt x="86154" y="23124"/>
                  </a:cubicBezTo>
                  <a:cubicBezTo>
                    <a:pt x="98570" y="15932"/>
                    <a:pt x="118007" y="25187"/>
                    <a:pt x="131887" y="21468"/>
                  </a:cubicBezTo>
                  <a:cubicBezTo>
                    <a:pt x="145632" y="17777"/>
                    <a:pt x="157804" y="0"/>
                    <a:pt x="17230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352">
              <a:extLst>
                <a:ext uri="{FF2B5EF4-FFF2-40B4-BE49-F238E27FC236}">
                  <a16:creationId xmlns:a16="http://schemas.microsoft.com/office/drawing/2014/main" id="{02E74E3F-674C-468C-B05E-B8BF34A8A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6243" y="443760"/>
              <a:ext cx="145448" cy="207954"/>
            </a:xfrm>
            <a:custGeom>
              <a:avLst/>
              <a:gdLst>
                <a:gd name="T0" fmla="*/ 3234 w 5365"/>
                <a:gd name="T1" fmla="*/ 384 h 7662"/>
                <a:gd name="T2" fmla="*/ 1547 w 5365"/>
                <a:gd name="T3" fmla="*/ 444 h 7662"/>
                <a:gd name="T4" fmla="*/ 57 w 5365"/>
                <a:gd name="T5" fmla="*/ 1235 h 7662"/>
                <a:gd name="T6" fmla="*/ 0 w 5365"/>
                <a:gd name="T7" fmla="*/ 1233 h 7662"/>
                <a:gd name="T8" fmla="*/ 1722 w 5365"/>
                <a:gd name="T9" fmla="*/ 7662 h 7662"/>
                <a:gd name="T10" fmla="*/ 3185 w 5365"/>
                <a:gd name="T11" fmla="*/ 5834 h 7662"/>
                <a:gd name="T12" fmla="*/ 5365 w 5365"/>
                <a:gd name="T13" fmla="*/ 6686 h 7662"/>
                <a:gd name="T14" fmla="*/ 3574 w 5365"/>
                <a:gd name="T15" fmla="*/ 0 h 7662"/>
                <a:gd name="T16" fmla="*/ 3234 w 5365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5" h="7662">
                  <a:moveTo>
                    <a:pt x="3234" y="384"/>
                  </a:moveTo>
                  <a:cubicBezTo>
                    <a:pt x="2776" y="649"/>
                    <a:pt x="2059" y="307"/>
                    <a:pt x="1547" y="444"/>
                  </a:cubicBezTo>
                  <a:cubicBezTo>
                    <a:pt x="1040" y="580"/>
                    <a:pt x="591" y="1235"/>
                    <a:pt x="57" y="1235"/>
                  </a:cubicBezTo>
                  <a:cubicBezTo>
                    <a:pt x="37" y="1235"/>
                    <a:pt x="18" y="1235"/>
                    <a:pt x="0" y="1233"/>
                  </a:cubicBezTo>
                  <a:lnTo>
                    <a:pt x="1722" y="7662"/>
                  </a:lnTo>
                  <a:lnTo>
                    <a:pt x="3185" y="5834"/>
                  </a:lnTo>
                  <a:lnTo>
                    <a:pt x="5365" y="6686"/>
                  </a:lnTo>
                  <a:lnTo>
                    <a:pt x="3574" y="0"/>
                  </a:lnTo>
                  <a:cubicBezTo>
                    <a:pt x="3485" y="162"/>
                    <a:pt x="3380" y="300"/>
                    <a:pt x="3234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353">
              <a:extLst>
                <a:ext uri="{FF2B5EF4-FFF2-40B4-BE49-F238E27FC236}">
                  <a16:creationId xmlns:a16="http://schemas.microsoft.com/office/drawing/2014/main" id="{DAD1C763-E31E-4212-98CA-65F48FEFF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373" y="443760"/>
              <a:ext cx="145448" cy="207954"/>
            </a:xfrm>
            <a:custGeom>
              <a:avLst/>
              <a:gdLst>
                <a:gd name="T0" fmla="*/ 2131 w 5366"/>
                <a:gd name="T1" fmla="*/ 384 h 7662"/>
                <a:gd name="T2" fmla="*/ 3818 w 5366"/>
                <a:gd name="T3" fmla="*/ 444 h 7662"/>
                <a:gd name="T4" fmla="*/ 5308 w 5366"/>
                <a:gd name="T5" fmla="*/ 1235 h 7662"/>
                <a:gd name="T6" fmla="*/ 5366 w 5366"/>
                <a:gd name="T7" fmla="*/ 1233 h 7662"/>
                <a:gd name="T8" fmla="*/ 3643 w 5366"/>
                <a:gd name="T9" fmla="*/ 7662 h 7662"/>
                <a:gd name="T10" fmla="*/ 2180 w 5366"/>
                <a:gd name="T11" fmla="*/ 5834 h 7662"/>
                <a:gd name="T12" fmla="*/ 0 w 5366"/>
                <a:gd name="T13" fmla="*/ 6686 h 7662"/>
                <a:gd name="T14" fmla="*/ 1791 w 5366"/>
                <a:gd name="T15" fmla="*/ 0 h 7662"/>
                <a:gd name="T16" fmla="*/ 2131 w 5366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6" h="7662">
                  <a:moveTo>
                    <a:pt x="2131" y="384"/>
                  </a:moveTo>
                  <a:cubicBezTo>
                    <a:pt x="2589" y="649"/>
                    <a:pt x="3306" y="307"/>
                    <a:pt x="3818" y="444"/>
                  </a:cubicBezTo>
                  <a:cubicBezTo>
                    <a:pt x="4325" y="580"/>
                    <a:pt x="4774" y="1235"/>
                    <a:pt x="5308" y="1235"/>
                  </a:cubicBezTo>
                  <a:cubicBezTo>
                    <a:pt x="5328" y="1235"/>
                    <a:pt x="5347" y="1235"/>
                    <a:pt x="5366" y="1233"/>
                  </a:cubicBezTo>
                  <a:lnTo>
                    <a:pt x="3643" y="7662"/>
                  </a:lnTo>
                  <a:lnTo>
                    <a:pt x="2180" y="5834"/>
                  </a:lnTo>
                  <a:lnTo>
                    <a:pt x="0" y="6686"/>
                  </a:lnTo>
                  <a:lnTo>
                    <a:pt x="1791" y="0"/>
                  </a:lnTo>
                  <a:cubicBezTo>
                    <a:pt x="1880" y="162"/>
                    <a:pt x="1985" y="300"/>
                    <a:pt x="2131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" name="ZoneTexte 4">
            <a:extLst>
              <a:ext uri="{FF2B5EF4-FFF2-40B4-BE49-F238E27FC236}">
                <a16:creationId xmlns:a16="http://schemas.microsoft.com/office/drawing/2014/main" id="{DFEA2082-E7DE-4453-8158-54F380B94285}"/>
              </a:ext>
            </a:extLst>
          </p:cNvPr>
          <p:cNvSpPr txBox="1"/>
          <p:nvPr/>
        </p:nvSpPr>
        <p:spPr>
          <a:xfrm>
            <a:off x="8045042" y="1417320"/>
            <a:ext cx="3649777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>
                <a:latin typeface="Arial" panose="020B0604020202020204" pitchFamily="34" charset="0"/>
                <a:cs typeface="Arial" panose="020B0604020202020204" pitchFamily="34" charset="0"/>
              </a:rPr>
              <a:t>Les </a:t>
            </a:r>
            <a:r>
              <a:rPr lang="fr-FR" sz="3200" dirty="0" err="1">
                <a:latin typeface="Arial" panose="020B0604020202020204" pitchFamily="34" charset="0"/>
                <a:cs typeface="Arial" panose="020B0604020202020204" pitchFamily="34" charset="0"/>
              </a:rPr>
              <a:t>ecritures</a:t>
            </a:r>
            <a:endParaRPr lang="fr-FR" sz="3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fr-FR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98861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à coins arrondis 1"/>
          <p:cNvSpPr/>
          <p:nvPr/>
        </p:nvSpPr>
        <p:spPr>
          <a:xfrm>
            <a:off x="2063552" y="404664"/>
            <a:ext cx="8352928" cy="1152128"/>
          </a:xfrm>
          <a:prstGeom prst="roundRect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4000" b="1" dirty="0"/>
              <a:t>Les états de synthèse</a:t>
            </a:r>
          </a:p>
        </p:txBody>
      </p:sp>
      <p:graphicFrame>
        <p:nvGraphicFramePr>
          <p:cNvPr id="5" name="Diagramme 4"/>
          <p:cNvGraphicFramePr/>
          <p:nvPr/>
        </p:nvGraphicFramePr>
        <p:xfrm>
          <a:off x="3071664" y="2204864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65599676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3363" y="365760"/>
            <a:ext cx="9367203" cy="1188720"/>
          </a:xfrm>
        </p:spPr>
        <p:txBody>
          <a:bodyPr>
            <a:normAutofit/>
          </a:bodyPr>
          <a:lstStyle/>
          <a:p>
            <a:r>
              <a:rPr lang="fr-FR" dirty="0"/>
              <a:t>Comptabilisation - principes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CB4857B-ED7C-444D-9F04-2F885114A1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764099" cy="1558212"/>
          </a:xfrm>
          <a:custGeom>
            <a:avLst/>
            <a:gdLst>
              <a:gd name="connsiteX0" fmla="*/ 0 w 1764099"/>
              <a:gd name="connsiteY0" fmla="*/ 0 h 1558212"/>
              <a:gd name="connsiteX1" fmla="*/ 1764099 w 1764099"/>
              <a:gd name="connsiteY1" fmla="*/ 0 h 1558212"/>
              <a:gd name="connsiteX2" fmla="*/ 1042087 w 1764099"/>
              <a:gd name="connsiteY2" fmla="*/ 1558212 h 1558212"/>
              <a:gd name="connsiteX3" fmla="*/ 0 w 1764099"/>
              <a:gd name="connsiteY3" fmla="*/ 1558212 h 1558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64099" h="1558212">
                <a:moveTo>
                  <a:pt x="0" y="0"/>
                </a:moveTo>
                <a:lnTo>
                  <a:pt x="1764099" y="0"/>
                </a:lnTo>
                <a:lnTo>
                  <a:pt x="1042087" y="1558212"/>
                </a:lnTo>
                <a:lnTo>
                  <a:pt x="0" y="155821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18046FB-44EA-4FD8-A585-EA09A319B2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1691640"/>
            <a:ext cx="12191999" cy="5166360"/>
          </a:xfrm>
          <a:custGeom>
            <a:avLst/>
            <a:gdLst>
              <a:gd name="connsiteX0" fmla="*/ 0 w 12191999"/>
              <a:gd name="connsiteY0" fmla="*/ 0 h 5166360"/>
              <a:gd name="connsiteX1" fmla="*/ 1822388 w 12191999"/>
              <a:gd name="connsiteY1" fmla="*/ 0 h 5166360"/>
              <a:gd name="connsiteX2" fmla="*/ 6468290 w 12191999"/>
              <a:gd name="connsiteY2" fmla="*/ 0 h 5166360"/>
              <a:gd name="connsiteX3" fmla="*/ 7796394 w 12191999"/>
              <a:gd name="connsiteY3" fmla="*/ 0 h 5166360"/>
              <a:gd name="connsiteX4" fmla="*/ 8376834 w 12191999"/>
              <a:gd name="connsiteY4" fmla="*/ 0 h 5166360"/>
              <a:gd name="connsiteX5" fmla="*/ 9704938 w 12191999"/>
              <a:gd name="connsiteY5" fmla="*/ 0 h 5166360"/>
              <a:gd name="connsiteX6" fmla="*/ 9704938 w 12191999"/>
              <a:gd name="connsiteY6" fmla="*/ 2 h 5166360"/>
              <a:gd name="connsiteX7" fmla="*/ 10283456 w 12191999"/>
              <a:gd name="connsiteY7" fmla="*/ 2 h 5166360"/>
              <a:gd name="connsiteX8" fmla="*/ 10863897 w 12191999"/>
              <a:gd name="connsiteY8" fmla="*/ 2 h 5166360"/>
              <a:gd name="connsiteX9" fmla="*/ 12191999 w 12191999"/>
              <a:gd name="connsiteY9" fmla="*/ 2 h 5166360"/>
              <a:gd name="connsiteX10" fmla="*/ 12191999 w 12191999"/>
              <a:gd name="connsiteY10" fmla="*/ 5166360 h 5166360"/>
              <a:gd name="connsiteX11" fmla="*/ 0 w 12191999"/>
              <a:gd name="connsiteY11" fmla="*/ 5166360 h 5166360"/>
              <a:gd name="connsiteX12" fmla="*/ 0 w 12191999"/>
              <a:gd name="connsiteY12" fmla="*/ 2604436 h 5166360"/>
              <a:gd name="connsiteX13" fmla="*/ 862341 w 12191999"/>
              <a:gd name="connsiteY13" fmla="*/ 743371 h 5166360"/>
              <a:gd name="connsiteX14" fmla="*/ 0 w 12191999"/>
              <a:gd name="connsiteY14" fmla="*/ 743371 h 5166360"/>
              <a:gd name="connsiteX15" fmla="*/ 0 w 12191999"/>
              <a:gd name="connsiteY15" fmla="*/ 742508 h 5166360"/>
              <a:gd name="connsiteX16" fmla="*/ 92826 w 12191999"/>
              <a:gd name="connsiteY16" fmla="*/ 742508 h 5166360"/>
              <a:gd name="connsiteX17" fmla="*/ 406486 w 12191999"/>
              <a:gd name="connsiteY17" fmla="*/ 742508 h 5166360"/>
              <a:gd name="connsiteX18" fmla="*/ 406486 w 12191999"/>
              <a:gd name="connsiteY18" fmla="*/ 742507 h 5166360"/>
              <a:gd name="connsiteX19" fmla="*/ 862741 w 12191999"/>
              <a:gd name="connsiteY19" fmla="*/ 742507 h 5166360"/>
              <a:gd name="connsiteX20" fmla="*/ 1206388 w 12191999"/>
              <a:gd name="connsiteY20" fmla="*/ 864 h 5166360"/>
              <a:gd name="connsiteX21" fmla="*/ 748500 w 12191999"/>
              <a:gd name="connsiteY21" fmla="*/ 864 h 5166360"/>
              <a:gd name="connsiteX22" fmla="*/ 0 w 12191999"/>
              <a:gd name="connsiteY22" fmla="*/ 864 h 5166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1999" h="5166360">
                <a:moveTo>
                  <a:pt x="0" y="0"/>
                </a:moveTo>
                <a:lnTo>
                  <a:pt x="1822388" y="0"/>
                </a:lnTo>
                <a:lnTo>
                  <a:pt x="6468290" y="0"/>
                </a:lnTo>
                <a:lnTo>
                  <a:pt x="7796394" y="0"/>
                </a:lnTo>
                <a:lnTo>
                  <a:pt x="8376834" y="0"/>
                </a:lnTo>
                <a:lnTo>
                  <a:pt x="9704938" y="0"/>
                </a:lnTo>
                <a:lnTo>
                  <a:pt x="9704938" y="2"/>
                </a:lnTo>
                <a:lnTo>
                  <a:pt x="10283456" y="2"/>
                </a:lnTo>
                <a:lnTo>
                  <a:pt x="10863897" y="2"/>
                </a:lnTo>
                <a:lnTo>
                  <a:pt x="12191999" y="2"/>
                </a:lnTo>
                <a:lnTo>
                  <a:pt x="12191999" y="5166360"/>
                </a:lnTo>
                <a:lnTo>
                  <a:pt x="0" y="5166360"/>
                </a:lnTo>
                <a:lnTo>
                  <a:pt x="0" y="2604436"/>
                </a:lnTo>
                <a:lnTo>
                  <a:pt x="862341" y="743371"/>
                </a:lnTo>
                <a:lnTo>
                  <a:pt x="0" y="743371"/>
                </a:lnTo>
                <a:lnTo>
                  <a:pt x="0" y="742508"/>
                </a:lnTo>
                <a:lnTo>
                  <a:pt x="92826" y="742508"/>
                </a:lnTo>
                <a:lnTo>
                  <a:pt x="406486" y="742508"/>
                </a:lnTo>
                <a:lnTo>
                  <a:pt x="406486" y="742507"/>
                </a:lnTo>
                <a:lnTo>
                  <a:pt x="862741" y="742507"/>
                </a:lnTo>
                <a:lnTo>
                  <a:pt x="1206388" y="864"/>
                </a:lnTo>
                <a:lnTo>
                  <a:pt x="748500" y="864"/>
                </a:lnTo>
                <a:lnTo>
                  <a:pt x="0" y="864"/>
                </a:lnTo>
                <a:close/>
              </a:path>
            </a:pathLst>
          </a:custGeom>
          <a:solidFill>
            <a:srgbClr val="A6A6A6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79F5F2B-8B58-4140-AE6A-51F6C67B18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691641"/>
            <a:ext cx="971654" cy="2096979"/>
          </a:xfrm>
          <a:custGeom>
            <a:avLst/>
            <a:gdLst>
              <a:gd name="connsiteX0" fmla="*/ 0 w 971654"/>
              <a:gd name="connsiteY0" fmla="*/ 0 h 2096979"/>
              <a:gd name="connsiteX1" fmla="*/ 971654 w 971654"/>
              <a:gd name="connsiteY1" fmla="*/ 0 h 2096979"/>
              <a:gd name="connsiteX2" fmla="*/ 0 w 971654"/>
              <a:gd name="connsiteY2" fmla="*/ 2096979 h 2096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71654" h="2096979">
                <a:moveTo>
                  <a:pt x="0" y="0"/>
                </a:moveTo>
                <a:lnTo>
                  <a:pt x="971654" y="0"/>
                </a:lnTo>
                <a:lnTo>
                  <a:pt x="0" y="2096979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82757" y="1920240"/>
            <a:ext cx="10873408" cy="4868186"/>
          </a:xfrm>
        </p:spPr>
        <p:txBody>
          <a:bodyPr anchor="t">
            <a:normAutofit fontScale="92500" lnSpcReduction="10000"/>
          </a:bodyPr>
          <a:lstStyle/>
          <a:p>
            <a:pPr marL="0" indent="0">
              <a:buNone/>
            </a:pPr>
            <a:r>
              <a:rPr lang="fr-FR" sz="13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’établissement du compte de résultat nous a permis de déterminer le résultat de l’exercice en faisant la différence entre tous les produits et toutes les charges survenus pendant l’exercice.</a:t>
            </a:r>
          </a:p>
          <a:p>
            <a:endParaRPr lang="fr-FR" sz="22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 bilan nous a permis de déterminer ce que possédait l’entreprise (actif) et ce qu’elle devait (passif) à la fin de l’exercice.</a:t>
            </a:r>
          </a:p>
          <a:p>
            <a:pPr marL="0" indent="0">
              <a:buNone/>
            </a:pPr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n comptabilité, il faut comptabiliser (enregistrer) les opérations (achats, ventes, règlements..) chronologiquement (horodatage / FEC) :</a:t>
            </a:r>
          </a:p>
          <a:p>
            <a:pPr marL="0" indent="0">
              <a:buNone/>
            </a:pPr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marL="819150" lvl="1"/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 Dès qu’il y a un achat =&gt; Enregistrement.</a:t>
            </a:r>
          </a:p>
          <a:p>
            <a:pPr marL="133350" indent="0">
              <a:buNone/>
            </a:pPr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marL="819150" lvl="1"/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 Dès qu’il y a une vente =&gt; Enregistrement.</a:t>
            </a:r>
          </a:p>
          <a:p>
            <a:pPr marL="0" indent="0">
              <a:buNone/>
            </a:pPr>
            <a:r>
              <a:rPr lang="fr-FR" sz="2200" b="1" u="none" strike="noStrike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fr-FR" sz="22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fr-FR" sz="1300" dirty="0"/>
          </a:p>
        </p:txBody>
      </p:sp>
    </p:spTree>
    <p:extLst>
      <p:ext uri="{BB962C8B-B14F-4D97-AF65-F5344CB8AC3E}">
        <p14:creationId xmlns:p14="http://schemas.microsoft.com/office/powerpoint/2010/main" val="234399489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3363" y="365760"/>
            <a:ext cx="9367203" cy="1188720"/>
          </a:xfrm>
        </p:spPr>
        <p:txBody>
          <a:bodyPr>
            <a:normAutofit/>
          </a:bodyPr>
          <a:lstStyle/>
          <a:p>
            <a:r>
              <a:rPr lang="fr-FR" dirty="0"/>
              <a:t>Comptabilisation - principes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CB4857B-ED7C-444D-9F04-2F885114A1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764099" cy="1558212"/>
          </a:xfrm>
          <a:custGeom>
            <a:avLst/>
            <a:gdLst>
              <a:gd name="connsiteX0" fmla="*/ 0 w 1764099"/>
              <a:gd name="connsiteY0" fmla="*/ 0 h 1558212"/>
              <a:gd name="connsiteX1" fmla="*/ 1764099 w 1764099"/>
              <a:gd name="connsiteY1" fmla="*/ 0 h 1558212"/>
              <a:gd name="connsiteX2" fmla="*/ 1042087 w 1764099"/>
              <a:gd name="connsiteY2" fmla="*/ 1558212 h 1558212"/>
              <a:gd name="connsiteX3" fmla="*/ 0 w 1764099"/>
              <a:gd name="connsiteY3" fmla="*/ 1558212 h 1558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64099" h="1558212">
                <a:moveTo>
                  <a:pt x="0" y="0"/>
                </a:moveTo>
                <a:lnTo>
                  <a:pt x="1764099" y="0"/>
                </a:lnTo>
                <a:lnTo>
                  <a:pt x="1042087" y="1558212"/>
                </a:lnTo>
                <a:lnTo>
                  <a:pt x="0" y="155821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18046FB-44EA-4FD8-A585-EA09A319B2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1691640"/>
            <a:ext cx="12191999" cy="5166360"/>
          </a:xfrm>
          <a:custGeom>
            <a:avLst/>
            <a:gdLst>
              <a:gd name="connsiteX0" fmla="*/ 0 w 12191999"/>
              <a:gd name="connsiteY0" fmla="*/ 0 h 5166360"/>
              <a:gd name="connsiteX1" fmla="*/ 1822388 w 12191999"/>
              <a:gd name="connsiteY1" fmla="*/ 0 h 5166360"/>
              <a:gd name="connsiteX2" fmla="*/ 6468290 w 12191999"/>
              <a:gd name="connsiteY2" fmla="*/ 0 h 5166360"/>
              <a:gd name="connsiteX3" fmla="*/ 7796394 w 12191999"/>
              <a:gd name="connsiteY3" fmla="*/ 0 h 5166360"/>
              <a:gd name="connsiteX4" fmla="*/ 8376834 w 12191999"/>
              <a:gd name="connsiteY4" fmla="*/ 0 h 5166360"/>
              <a:gd name="connsiteX5" fmla="*/ 9704938 w 12191999"/>
              <a:gd name="connsiteY5" fmla="*/ 0 h 5166360"/>
              <a:gd name="connsiteX6" fmla="*/ 9704938 w 12191999"/>
              <a:gd name="connsiteY6" fmla="*/ 2 h 5166360"/>
              <a:gd name="connsiteX7" fmla="*/ 10283456 w 12191999"/>
              <a:gd name="connsiteY7" fmla="*/ 2 h 5166360"/>
              <a:gd name="connsiteX8" fmla="*/ 10863897 w 12191999"/>
              <a:gd name="connsiteY8" fmla="*/ 2 h 5166360"/>
              <a:gd name="connsiteX9" fmla="*/ 12191999 w 12191999"/>
              <a:gd name="connsiteY9" fmla="*/ 2 h 5166360"/>
              <a:gd name="connsiteX10" fmla="*/ 12191999 w 12191999"/>
              <a:gd name="connsiteY10" fmla="*/ 5166360 h 5166360"/>
              <a:gd name="connsiteX11" fmla="*/ 0 w 12191999"/>
              <a:gd name="connsiteY11" fmla="*/ 5166360 h 5166360"/>
              <a:gd name="connsiteX12" fmla="*/ 0 w 12191999"/>
              <a:gd name="connsiteY12" fmla="*/ 2604436 h 5166360"/>
              <a:gd name="connsiteX13" fmla="*/ 862341 w 12191999"/>
              <a:gd name="connsiteY13" fmla="*/ 743371 h 5166360"/>
              <a:gd name="connsiteX14" fmla="*/ 0 w 12191999"/>
              <a:gd name="connsiteY14" fmla="*/ 743371 h 5166360"/>
              <a:gd name="connsiteX15" fmla="*/ 0 w 12191999"/>
              <a:gd name="connsiteY15" fmla="*/ 742508 h 5166360"/>
              <a:gd name="connsiteX16" fmla="*/ 92826 w 12191999"/>
              <a:gd name="connsiteY16" fmla="*/ 742508 h 5166360"/>
              <a:gd name="connsiteX17" fmla="*/ 406486 w 12191999"/>
              <a:gd name="connsiteY17" fmla="*/ 742508 h 5166360"/>
              <a:gd name="connsiteX18" fmla="*/ 406486 w 12191999"/>
              <a:gd name="connsiteY18" fmla="*/ 742507 h 5166360"/>
              <a:gd name="connsiteX19" fmla="*/ 862741 w 12191999"/>
              <a:gd name="connsiteY19" fmla="*/ 742507 h 5166360"/>
              <a:gd name="connsiteX20" fmla="*/ 1206388 w 12191999"/>
              <a:gd name="connsiteY20" fmla="*/ 864 h 5166360"/>
              <a:gd name="connsiteX21" fmla="*/ 748500 w 12191999"/>
              <a:gd name="connsiteY21" fmla="*/ 864 h 5166360"/>
              <a:gd name="connsiteX22" fmla="*/ 0 w 12191999"/>
              <a:gd name="connsiteY22" fmla="*/ 864 h 5166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1999" h="5166360">
                <a:moveTo>
                  <a:pt x="0" y="0"/>
                </a:moveTo>
                <a:lnTo>
                  <a:pt x="1822388" y="0"/>
                </a:lnTo>
                <a:lnTo>
                  <a:pt x="6468290" y="0"/>
                </a:lnTo>
                <a:lnTo>
                  <a:pt x="7796394" y="0"/>
                </a:lnTo>
                <a:lnTo>
                  <a:pt x="8376834" y="0"/>
                </a:lnTo>
                <a:lnTo>
                  <a:pt x="9704938" y="0"/>
                </a:lnTo>
                <a:lnTo>
                  <a:pt x="9704938" y="2"/>
                </a:lnTo>
                <a:lnTo>
                  <a:pt x="10283456" y="2"/>
                </a:lnTo>
                <a:lnTo>
                  <a:pt x="10863897" y="2"/>
                </a:lnTo>
                <a:lnTo>
                  <a:pt x="12191999" y="2"/>
                </a:lnTo>
                <a:lnTo>
                  <a:pt x="12191999" y="5166360"/>
                </a:lnTo>
                <a:lnTo>
                  <a:pt x="0" y="5166360"/>
                </a:lnTo>
                <a:lnTo>
                  <a:pt x="0" y="2604436"/>
                </a:lnTo>
                <a:lnTo>
                  <a:pt x="862341" y="743371"/>
                </a:lnTo>
                <a:lnTo>
                  <a:pt x="0" y="743371"/>
                </a:lnTo>
                <a:lnTo>
                  <a:pt x="0" y="742508"/>
                </a:lnTo>
                <a:lnTo>
                  <a:pt x="92826" y="742508"/>
                </a:lnTo>
                <a:lnTo>
                  <a:pt x="406486" y="742508"/>
                </a:lnTo>
                <a:lnTo>
                  <a:pt x="406486" y="742507"/>
                </a:lnTo>
                <a:lnTo>
                  <a:pt x="862741" y="742507"/>
                </a:lnTo>
                <a:lnTo>
                  <a:pt x="1206388" y="864"/>
                </a:lnTo>
                <a:lnTo>
                  <a:pt x="748500" y="864"/>
                </a:lnTo>
                <a:lnTo>
                  <a:pt x="0" y="864"/>
                </a:lnTo>
                <a:close/>
              </a:path>
            </a:pathLst>
          </a:custGeom>
          <a:solidFill>
            <a:srgbClr val="A6A6A6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79F5F2B-8B58-4140-AE6A-51F6C67B18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691641"/>
            <a:ext cx="971654" cy="2096979"/>
          </a:xfrm>
          <a:custGeom>
            <a:avLst/>
            <a:gdLst>
              <a:gd name="connsiteX0" fmla="*/ 0 w 971654"/>
              <a:gd name="connsiteY0" fmla="*/ 0 h 2096979"/>
              <a:gd name="connsiteX1" fmla="*/ 971654 w 971654"/>
              <a:gd name="connsiteY1" fmla="*/ 0 h 2096979"/>
              <a:gd name="connsiteX2" fmla="*/ 0 w 971654"/>
              <a:gd name="connsiteY2" fmla="*/ 2096979 h 2096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71654" h="2096979">
                <a:moveTo>
                  <a:pt x="0" y="0"/>
                </a:moveTo>
                <a:lnTo>
                  <a:pt x="971654" y="0"/>
                </a:lnTo>
                <a:lnTo>
                  <a:pt x="0" y="2096979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070" y="1920240"/>
            <a:ext cx="11408095" cy="4868186"/>
          </a:xfrm>
        </p:spPr>
        <p:txBody>
          <a:bodyPr anchor="t">
            <a:normAutofit/>
          </a:bodyPr>
          <a:lstStyle/>
          <a:p>
            <a:pPr marL="0" indent="0">
              <a:buNone/>
            </a:pPr>
            <a:r>
              <a:rPr lang="fr-FR" sz="13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2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our traduire comptablement chaque opération on doit "passer" des écritures.</a:t>
            </a:r>
          </a:p>
          <a:p>
            <a:pPr algn="just"/>
            <a:endParaRPr lang="fr-FR" sz="20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sz="2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our passer des écritures on doit faire intervenir </a:t>
            </a:r>
            <a:r>
              <a:rPr lang="fr-FR" sz="20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u moins</a:t>
            </a:r>
            <a:r>
              <a:rPr lang="fr-FR" sz="2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deux comptes du P.C.G.</a:t>
            </a:r>
          </a:p>
          <a:p>
            <a:pPr marL="0" indent="0" algn="just">
              <a:buNone/>
            </a:pPr>
            <a:r>
              <a:rPr lang="fr-FR" sz="2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2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=&gt; Un compte (ou des comptes) que l’on va débiter </a:t>
            </a:r>
            <a:r>
              <a:rPr lang="fr-FR" sz="2000" dirty="0" err="1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.e</a:t>
            </a:r>
            <a:r>
              <a:rPr lang="fr-FR" sz="2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inscrire au débit</a:t>
            </a:r>
          </a:p>
          <a:p>
            <a:pPr marL="0" indent="0" algn="just">
              <a:buNone/>
            </a:pPr>
            <a:r>
              <a:rPr lang="fr-FR" sz="2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2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=&gt;</a:t>
            </a:r>
            <a:r>
              <a:rPr lang="fr-FR" sz="20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ET</a:t>
            </a:r>
            <a:r>
              <a:rPr lang="fr-FR" sz="2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un compte (ou des comptes) que l’on va créditer </a:t>
            </a:r>
            <a:r>
              <a:rPr lang="fr-FR" sz="2000" dirty="0" err="1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.e</a:t>
            </a:r>
            <a:r>
              <a:rPr lang="fr-FR" sz="2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inscrire au crédit</a:t>
            </a:r>
          </a:p>
          <a:p>
            <a:pPr marL="0" indent="0" algn="just">
              <a:buNone/>
            </a:pP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3200" dirty="0">
                <a:solidFill>
                  <a:srgbClr val="FF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ttention  : ∑ des débits  = ∑ somme des crédits !</a:t>
            </a:r>
          </a:p>
          <a:p>
            <a:endParaRPr lang="fr-FR" sz="1300" dirty="0"/>
          </a:p>
        </p:txBody>
      </p:sp>
    </p:spTree>
    <p:extLst>
      <p:ext uri="{BB962C8B-B14F-4D97-AF65-F5344CB8AC3E}">
        <p14:creationId xmlns:p14="http://schemas.microsoft.com/office/powerpoint/2010/main" val="424642015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3363" y="365760"/>
            <a:ext cx="9367203" cy="1188720"/>
          </a:xfrm>
        </p:spPr>
        <p:txBody>
          <a:bodyPr>
            <a:normAutofit/>
          </a:bodyPr>
          <a:lstStyle/>
          <a:p>
            <a:r>
              <a:rPr lang="fr-FR" dirty="0"/>
              <a:t>Comptabilisation - principes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CB4857B-ED7C-444D-9F04-2F885114A1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764099" cy="1558212"/>
          </a:xfrm>
          <a:custGeom>
            <a:avLst/>
            <a:gdLst>
              <a:gd name="connsiteX0" fmla="*/ 0 w 1764099"/>
              <a:gd name="connsiteY0" fmla="*/ 0 h 1558212"/>
              <a:gd name="connsiteX1" fmla="*/ 1764099 w 1764099"/>
              <a:gd name="connsiteY1" fmla="*/ 0 h 1558212"/>
              <a:gd name="connsiteX2" fmla="*/ 1042087 w 1764099"/>
              <a:gd name="connsiteY2" fmla="*/ 1558212 h 1558212"/>
              <a:gd name="connsiteX3" fmla="*/ 0 w 1764099"/>
              <a:gd name="connsiteY3" fmla="*/ 1558212 h 1558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64099" h="1558212">
                <a:moveTo>
                  <a:pt x="0" y="0"/>
                </a:moveTo>
                <a:lnTo>
                  <a:pt x="1764099" y="0"/>
                </a:lnTo>
                <a:lnTo>
                  <a:pt x="1042087" y="1558212"/>
                </a:lnTo>
                <a:lnTo>
                  <a:pt x="0" y="155821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18046FB-44EA-4FD8-A585-EA09A319B2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1691640"/>
            <a:ext cx="12191999" cy="5166360"/>
          </a:xfrm>
          <a:custGeom>
            <a:avLst/>
            <a:gdLst>
              <a:gd name="connsiteX0" fmla="*/ 0 w 12191999"/>
              <a:gd name="connsiteY0" fmla="*/ 0 h 5166360"/>
              <a:gd name="connsiteX1" fmla="*/ 1822388 w 12191999"/>
              <a:gd name="connsiteY1" fmla="*/ 0 h 5166360"/>
              <a:gd name="connsiteX2" fmla="*/ 6468290 w 12191999"/>
              <a:gd name="connsiteY2" fmla="*/ 0 h 5166360"/>
              <a:gd name="connsiteX3" fmla="*/ 7796394 w 12191999"/>
              <a:gd name="connsiteY3" fmla="*/ 0 h 5166360"/>
              <a:gd name="connsiteX4" fmla="*/ 8376834 w 12191999"/>
              <a:gd name="connsiteY4" fmla="*/ 0 h 5166360"/>
              <a:gd name="connsiteX5" fmla="*/ 9704938 w 12191999"/>
              <a:gd name="connsiteY5" fmla="*/ 0 h 5166360"/>
              <a:gd name="connsiteX6" fmla="*/ 9704938 w 12191999"/>
              <a:gd name="connsiteY6" fmla="*/ 2 h 5166360"/>
              <a:gd name="connsiteX7" fmla="*/ 10283456 w 12191999"/>
              <a:gd name="connsiteY7" fmla="*/ 2 h 5166360"/>
              <a:gd name="connsiteX8" fmla="*/ 10863897 w 12191999"/>
              <a:gd name="connsiteY8" fmla="*/ 2 h 5166360"/>
              <a:gd name="connsiteX9" fmla="*/ 12191999 w 12191999"/>
              <a:gd name="connsiteY9" fmla="*/ 2 h 5166360"/>
              <a:gd name="connsiteX10" fmla="*/ 12191999 w 12191999"/>
              <a:gd name="connsiteY10" fmla="*/ 5166360 h 5166360"/>
              <a:gd name="connsiteX11" fmla="*/ 0 w 12191999"/>
              <a:gd name="connsiteY11" fmla="*/ 5166360 h 5166360"/>
              <a:gd name="connsiteX12" fmla="*/ 0 w 12191999"/>
              <a:gd name="connsiteY12" fmla="*/ 2604436 h 5166360"/>
              <a:gd name="connsiteX13" fmla="*/ 862341 w 12191999"/>
              <a:gd name="connsiteY13" fmla="*/ 743371 h 5166360"/>
              <a:gd name="connsiteX14" fmla="*/ 0 w 12191999"/>
              <a:gd name="connsiteY14" fmla="*/ 743371 h 5166360"/>
              <a:gd name="connsiteX15" fmla="*/ 0 w 12191999"/>
              <a:gd name="connsiteY15" fmla="*/ 742508 h 5166360"/>
              <a:gd name="connsiteX16" fmla="*/ 92826 w 12191999"/>
              <a:gd name="connsiteY16" fmla="*/ 742508 h 5166360"/>
              <a:gd name="connsiteX17" fmla="*/ 406486 w 12191999"/>
              <a:gd name="connsiteY17" fmla="*/ 742508 h 5166360"/>
              <a:gd name="connsiteX18" fmla="*/ 406486 w 12191999"/>
              <a:gd name="connsiteY18" fmla="*/ 742507 h 5166360"/>
              <a:gd name="connsiteX19" fmla="*/ 862741 w 12191999"/>
              <a:gd name="connsiteY19" fmla="*/ 742507 h 5166360"/>
              <a:gd name="connsiteX20" fmla="*/ 1206388 w 12191999"/>
              <a:gd name="connsiteY20" fmla="*/ 864 h 5166360"/>
              <a:gd name="connsiteX21" fmla="*/ 748500 w 12191999"/>
              <a:gd name="connsiteY21" fmla="*/ 864 h 5166360"/>
              <a:gd name="connsiteX22" fmla="*/ 0 w 12191999"/>
              <a:gd name="connsiteY22" fmla="*/ 864 h 5166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1999" h="5166360">
                <a:moveTo>
                  <a:pt x="0" y="0"/>
                </a:moveTo>
                <a:lnTo>
                  <a:pt x="1822388" y="0"/>
                </a:lnTo>
                <a:lnTo>
                  <a:pt x="6468290" y="0"/>
                </a:lnTo>
                <a:lnTo>
                  <a:pt x="7796394" y="0"/>
                </a:lnTo>
                <a:lnTo>
                  <a:pt x="8376834" y="0"/>
                </a:lnTo>
                <a:lnTo>
                  <a:pt x="9704938" y="0"/>
                </a:lnTo>
                <a:lnTo>
                  <a:pt x="9704938" y="2"/>
                </a:lnTo>
                <a:lnTo>
                  <a:pt x="10283456" y="2"/>
                </a:lnTo>
                <a:lnTo>
                  <a:pt x="10863897" y="2"/>
                </a:lnTo>
                <a:lnTo>
                  <a:pt x="12191999" y="2"/>
                </a:lnTo>
                <a:lnTo>
                  <a:pt x="12191999" y="5166360"/>
                </a:lnTo>
                <a:lnTo>
                  <a:pt x="0" y="5166360"/>
                </a:lnTo>
                <a:lnTo>
                  <a:pt x="0" y="2604436"/>
                </a:lnTo>
                <a:lnTo>
                  <a:pt x="862341" y="743371"/>
                </a:lnTo>
                <a:lnTo>
                  <a:pt x="0" y="743371"/>
                </a:lnTo>
                <a:lnTo>
                  <a:pt x="0" y="742508"/>
                </a:lnTo>
                <a:lnTo>
                  <a:pt x="92826" y="742508"/>
                </a:lnTo>
                <a:lnTo>
                  <a:pt x="406486" y="742508"/>
                </a:lnTo>
                <a:lnTo>
                  <a:pt x="406486" y="742507"/>
                </a:lnTo>
                <a:lnTo>
                  <a:pt x="862741" y="742507"/>
                </a:lnTo>
                <a:lnTo>
                  <a:pt x="1206388" y="864"/>
                </a:lnTo>
                <a:lnTo>
                  <a:pt x="748500" y="864"/>
                </a:lnTo>
                <a:lnTo>
                  <a:pt x="0" y="864"/>
                </a:lnTo>
                <a:close/>
              </a:path>
            </a:pathLst>
          </a:custGeom>
          <a:solidFill>
            <a:srgbClr val="A6A6A6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79F5F2B-8B58-4140-AE6A-51F6C67B18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691641"/>
            <a:ext cx="971654" cy="2096979"/>
          </a:xfrm>
          <a:custGeom>
            <a:avLst/>
            <a:gdLst>
              <a:gd name="connsiteX0" fmla="*/ 0 w 971654"/>
              <a:gd name="connsiteY0" fmla="*/ 0 h 2096979"/>
              <a:gd name="connsiteX1" fmla="*/ 971654 w 971654"/>
              <a:gd name="connsiteY1" fmla="*/ 0 h 2096979"/>
              <a:gd name="connsiteX2" fmla="*/ 0 w 971654"/>
              <a:gd name="connsiteY2" fmla="*/ 2096979 h 2096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71654" h="2096979">
                <a:moveTo>
                  <a:pt x="0" y="0"/>
                </a:moveTo>
                <a:lnTo>
                  <a:pt x="971654" y="0"/>
                </a:lnTo>
                <a:lnTo>
                  <a:pt x="0" y="2096979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070" y="1920240"/>
            <a:ext cx="11408095" cy="4868186"/>
          </a:xfrm>
        </p:spPr>
        <p:txBody>
          <a:bodyPr anchor="t">
            <a:normAutofit/>
          </a:bodyPr>
          <a:lstStyle/>
          <a:p>
            <a:pPr marL="0" indent="0">
              <a:buNone/>
            </a:pPr>
            <a:r>
              <a:rPr lang="fr-FR" sz="13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2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ela revient donc à identifier au moins deux comptes qui sont sollicités en même temps.</a:t>
            </a:r>
          </a:p>
          <a:p>
            <a:pPr algn="just"/>
            <a:endParaRPr lang="fr-FR" sz="2000" dirty="0"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sz="2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ous avons fait les recherches dans le PCG à cet effet.</a:t>
            </a:r>
          </a:p>
          <a:p>
            <a:pPr algn="just"/>
            <a:endParaRPr lang="fr-FR" sz="2000" dirty="0"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sz="2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n à savoir 1 : la contrepartie d’un compte de classe 6 ou 7 / Est systématiquement un compte de bilan, généralement compte de classe 4 =&gt; </a:t>
            </a:r>
            <a:r>
              <a:rPr lang="fr-FR" sz="2000" dirty="0">
                <a:effectLst/>
                <a:highlight>
                  <a:srgbClr val="FFFF00"/>
                </a:highlight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lux économique</a:t>
            </a:r>
          </a:p>
          <a:p>
            <a:pPr algn="just"/>
            <a:endParaRPr lang="fr-FR" sz="2000" dirty="0"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sz="2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n à savoir 2 : </a:t>
            </a:r>
            <a:r>
              <a:rPr lang="fr-FR" sz="2000" dirty="0">
                <a:effectLst/>
                <a:highlight>
                  <a:srgbClr val="FFFF00"/>
                </a:highlight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 flux de trésorerie </a:t>
            </a:r>
            <a:r>
              <a:rPr lang="fr-FR" sz="2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ait généralement intervenir deux comptes de bilan (comptes classe 4 et classe 5)</a:t>
            </a:r>
          </a:p>
          <a:p>
            <a:pPr algn="just"/>
            <a:endParaRPr lang="fr-FR" sz="20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endParaRPr lang="fr-FR" sz="3200" dirty="0">
              <a:solidFill>
                <a:srgbClr val="FF0000"/>
              </a:solidFill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fr-FR" sz="1300" dirty="0"/>
          </a:p>
        </p:txBody>
      </p:sp>
    </p:spTree>
    <p:extLst>
      <p:ext uri="{BB962C8B-B14F-4D97-AF65-F5344CB8AC3E}">
        <p14:creationId xmlns:p14="http://schemas.microsoft.com/office/powerpoint/2010/main" val="239097545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3363" y="365760"/>
            <a:ext cx="9367203" cy="1188720"/>
          </a:xfrm>
        </p:spPr>
        <p:txBody>
          <a:bodyPr>
            <a:normAutofit/>
          </a:bodyPr>
          <a:lstStyle/>
          <a:p>
            <a:r>
              <a:rPr lang="fr-FR" dirty="0"/>
              <a:t>Comptabilisation - Vocabulaire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CB4857B-ED7C-444D-9F04-2F885114A1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764099" cy="1558212"/>
          </a:xfrm>
          <a:custGeom>
            <a:avLst/>
            <a:gdLst>
              <a:gd name="connsiteX0" fmla="*/ 0 w 1764099"/>
              <a:gd name="connsiteY0" fmla="*/ 0 h 1558212"/>
              <a:gd name="connsiteX1" fmla="*/ 1764099 w 1764099"/>
              <a:gd name="connsiteY1" fmla="*/ 0 h 1558212"/>
              <a:gd name="connsiteX2" fmla="*/ 1042087 w 1764099"/>
              <a:gd name="connsiteY2" fmla="*/ 1558212 h 1558212"/>
              <a:gd name="connsiteX3" fmla="*/ 0 w 1764099"/>
              <a:gd name="connsiteY3" fmla="*/ 1558212 h 1558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64099" h="1558212">
                <a:moveTo>
                  <a:pt x="0" y="0"/>
                </a:moveTo>
                <a:lnTo>
                  <a:pt x="1764099" y="0"/>
                </a:lnTo>
                <a:lnTo>
                  <a:pt x="1042087" y="1558212"/>
                </a:lnTo>
                <a:lnTo>
                  <a:pt x="0" y="155821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18046FB-44EA-4FD8-A585-EA09A319B2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1691640"/>
            <a:ext cx="12191999" cy="5166360"/>
          </a:xfrm>
          <a:custGeom>
            <a:avLst/>
            <a:gdLst>
              <a:gd name="connsiteX0" fmla="*/ 0 w 12191999"/>
              <a:gd name="connsiteY0" fmla="*/ 0 h 5166360"/>
              <a:gd name="connsiteX1" fmla="*/ 1822388 w 12191999"/>
              <a:gd name="connsiteY1" fmla="*/ 0 h 5166360"/>
              <a:gd name="connsiteX2" fmla="*/ 6468290 w 12191999"/>
              <a:gd name="connsiteY2" fmla="*/ 0 h 5166360"/>
              <a:gd name="connsiteX3" fmla="*/ 7796394 w 12191999"/>
              <a:gd name="connsiteY3" fmla="*/ 0 h 5166360"/>
              <a:gd name="connsiteX4" fmla="*/ 8376834 w 12191999"/>
              <a:gd name="connsiteY4" fmla="*/ 0 h 5166360"/>
              <a:gd name="connsiteX5" fmla="*/ 9704938 w 12191999"/>
              <a:gd name="connsiteY5" fmla="*/ 0 h 5166360"/>
              <a:gd name="connsiteX6" fmla="*/ 9704938 w 12191999"/>
              <a:gd name="connsiteY6" fmla="*/ 2 h 5166360"/>
              <a:gd name="connsiteX7" fmla="*/ 10283456 w 12191999"/>
              <a:gd name="connsiteY7" fmla="*/ 2 h 5166360"/>
              <a:gd name="connsiteX8" fmla="*/ 10863897 w 12191999"/>
              <a:gd name="connsiteY8" fmla="*/ 2 h 5166360"/>
              <a:gd name="connsiteX9" fmla="*/ 12191999 w 12191999"/>
              <a:gd name="connsiteY9" fmla="*/ 2 h 5166360"/>
              <a:gd name="connsiteX10" fmla="*/ 12191999 w 12191999"/>
              <a:gd name="connsiteY10" fmla="*/ 5166360 h 5166360"/>
              <a:gd name="connsiteX11" fmla="*/ 0 w 12191999"/>
              <a:gd name="connsiteY11" fmla="*/ 5166360 h 5166360"/>
              <a:gd name="connsiteX12" fmla="*/ 0 w 12191999"/>
              <a:gd name="connsiteY12" fmla="*/ 2604436 h 5166360"/>
              <a:gd name="connsiteX13" fmla="*/ 862341 w 12191999"/>
              <a:gd name="connsiteY13" fmla="*/ 743371 h 5166360"/>
              <a:gd name="connsiteX14" fmla="*/ 0 w 12191999"/>
              <a:gd name="connsiteY14" fmla="*/ 743371 h 5166360"/>
              <a:gd name="connsiteX15" fmla="*/ 0 w 12191999"/>
              <a:gd name="connsiteY15" fmla="*/ 742508 h 5166360"/>
              <a:gd name="connsiteX16" fmla="*/ 92826 w 12191999"/>
              <a:gd name="connsiteY16" fmla="*/ 742508 h 5166360"/>
              <a:gd name="connsiteX17" fmla="*/ 406486 w 12191999"/>
              <a:gd name="connsiteY17" fmla="*/ 742508 h 5166360"/>
              <a:gd name="connsiteX18" fmla="*/ 406486 w 12191999"/>
              <a:gd name="connsiteY18" fmla="*/ 742507 h 5166360"/>
              <a:gd name="connsiteX19" fmla="*/ 862741 w 12191999"/>
              <a:gd name="connsiteY19" fmla="*/ 742507 h 5166360"/>
              <a:gd name="connsiteX20" fmla="*/ 1206388 w 12191999"/>
              <a:gd name="connsiteY20" fmla="*/ 864 h 5166360"/>
              <a:gd name="connsiteX21" fmla="*/ 748500 w 12191999"/>
              <a:gd name="connsiteY21" fmla="*/ 864 h 5166360"/>
              <a:gd name="connsiteX22" fmla="*/ 0 w 12191999"/>
              <a:gd name="connsiteY22" fmla="*/ 864 h 5166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1999" h="5166360">
                <a:moveTo>
                  <a:pt x="0" y="0"/>
                </a:moveTo>
                <a:lnTo>
                  <a:pt x="1822388" y="0"/>
                </a:lnTo>
                <a:lnTo>
                  <a:pt x="6468290" y="0"/>
                </a:lnTo>
                <a:lnTo>
                  <a:pt x="7796394" y="0"/>
                </a:lnTo>
                <a:lnTo>
                  <a:pt x="8376834" y="0"/>
                </a:lnTo>
                <a:lnTo>
                  <a:pt x="9704938" y="0"/>
                </a:lnTo>
                <a:lnTo>
                  <a:pt x="9704938" y="2"/>
                </a:lnTo>
                <a:lnTo>
                  <a:pt x="10283456" y="2"/>
                </a:lnTo>
                <a:lnTo>
                  <a:pt x="10863897" y="2"/>
                </a:lnTo>
                <a:lnTo>
                  <a:pt x="12191999" y="2"/>
                </a:lnTo>
                <a:lnTo>
                  <a:pt x="12191999" y="5166360"/>
                </a:lnTo>
                <a:lnTo>
                  <a:pt x="0" y="5166360"/>
                </a:lnTo>
                <a:lnTo>
                  <a:pt x="0" y="2604436"/>
                </a:lnTo>
                <a:lnTo>
                  <a:pt x="862341" y="743371"/>
                </a:lnTo>
                <a:lnTo>
                  <a:pt x="0" y="743371"/>
                </a:lnTo>
                <a:lnTo>
                  <a:pt x="0" y="742508"/>
                </a:lnTo>
                <a:lnTo>
                  <a:pt x="92826" y="742508"/>
                </a:lnTo>
                <a:lnTo>
                  <a:pt x="406486" y="742508"/>
                </a:lnTo>
                <a:lnTo>
                  <a:pt x="406486" y="742507"/>
                </a:lnTo>
                <a:lnTo>
                  <a:pt x="862741" y="742507"/>
                </a:lnTo>
                <a:lnTo>
                  <a:pt x="1206388" y="864"/>
                </a:lnTo>
                <a:lnTo>
                  <a:pt x="748500" y="864"/>
                </a:lnTo>
                <a:lnTo>
                  <a:pt x="0" y="864"/>
                </a:lnTo>
                <a:close/>
              </a:path>
            </a:pathLst>
          </a:custGeom>
          <a:solidFill>
            <a:srgbClr val="A6A6A6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79F5F2B-8B58-4140-AE6A-51F6C67B18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691641"/>
            <a:ext cx="971654" cy="2096979"/>
          </a:xfrm>
          <a:custGeom>
            <a:avLst/>
            <a:gdLst>
              <a:gd name="connsiteX0" fmla="*/ 0 w 971654"/>
              <a:gd name="connsiteY0" fmla="*/ 0 h 2096979"/>
              <a:gd name="connsiteX1" fmla="*/ 971654 w 971654"/>
              <a:gd name="connsiteY1" fmla="*/ 0 h 2096979"/>
              <a:gd name="connsiteX2" fmla="*/ 0 w 971654"/>
              <a:gd name="connsiteY2" fmla="*/ 2096979 h 2096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71654" h="2096979">
                <a:moveTo>
                  <a:pt x="0" y="0"/>
                </a:moveTo>
                <a:lnTo>
                  <a:pt x="971654" y="0"/>
                </a:lnTo>
                <a:lnTo>
                  <a:pt x="0" y="2096979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070" y="1920240"/>
            <a:ext cx="11408095" cy="4868186"/>
          </a:xfrm>
        </p:spPr>
        <p:txBody>
          <a:bodyPr anchor="t">
            <a:normAutofit lnSpcReduction="10000"/>
          </a:bodyPr>
          <a:lstStyle/>
          <a:p>
            <a:pPr marL="0" indent="0">
              <a:buNone/>
            </a:pPr>
            <a:r>
              <a:rPr lang="fr-FR" sz="13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marL="361950"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cheter à crédit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marL="0" indent="0" algn="just">
              <a:buNone/>
            </a:pP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n ne règle pas immédiatement ce que l'on achète, donc on a une dette envers un fournisseur.</a:t>
            </a:r>
          </a:p>
          <a:p>
            <a:pPr marL="0" indent="0" algn="just">
              <a:buNone/>
            </a:pP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Vendre à crédit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marL="0" indent="0" algn="just">
              <a:buNone/>
            </a:pP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n n'est pas réglé immédiatement de ce que l'on a vendu, donc on a une créance sur un client.</a:t>
            </a:r>
          </a:p>
          <a:p>
            <a:pPr marL="0" indent="0" algn="just">
              <a:buNone/>
            </a:pP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marL="0" indent="0" algn="just">
              <a:buNone/>
            </a:pP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Régler comptant</a:t>
            </a:r>
            <a:endParaRPr lang="fr-FR" sz="18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just">
              <a:buNone/>
            </a:pP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n règle immédiatement en espèces (liquide =&gt; pièces ou billets) ou par chèque ce que l'on acheté.</a:t>
            </a:r>
          </a:p>
          <a:p>
            <a:pPr marL="0" indent="0" algn="just">
              <a:buNone/>
            </a:pP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marL="0" indent="0" algn="just">
              <a:buNone/>
            </a:pP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Vendre au comptant</a:t>
            </a:r>
            <a:endParaRPr lang="fr-FR" sz="18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just">
              <a:buNone/>
            </a:pP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n est réglé immédiatement en espèces (liquide =&gt; pièces ou billets) ou par chèque de ce que l'on a vendu.</a:t>
            </a:r>
          </a:p>
          <a:p>
            <a:endParaRPr lang="fr-FR" sz="1300" dirty="0"/>
          </a:p>
        </p:txBody>
      </p:sp>
    </p:spTree>
    <p:extLst>
      <p:ext uri="{BB962C8B-B14F-4D97-AF65-F5344CB8AC3E}">
        <p14:creationId xmlns:p14="http://schemas.microsoft.com/office/powerpoint/2010/main" val="356750530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100EDD19-6802-4EC3-95CE-CFFAB042C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 fontScale="90000"/>
          </a:bodyPr>
          <a:lstStyle/>
          <a:p>
            <a:r>
              <a:rPr lang="fr-FR" sz="5400" dirty="0"/>
              <a:t>Comptabilisation – Exemple - CAS UP1</a:t>
            </a:r>
          </a:p>
        </p:txBody>
      </p:sp>
      <p:sp>
        <p:nvSpPr>
          <p:cNvPr id="19" name="sketch line">
            <a:extLst>
              <a:ext uri="{FF2B5EF4-FFF2-40B4-BE49-F238E27FC236}">
                <a16:creationId xmlns:a16="http://schemas.microsoft.com/office/drawing/2014/main" id="{DB17E863-922E-4C26-BD64-E8FD41D286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9036" y="1677373"/>
            <a:ext cx="10853928" cy="18288"/>
          </a:xfrm>
          <a:custGeom>
            <a:avLst/>
            <a:gdLst>
              <a:gd name="connsiteX0" fmla="*/ 0 w 10853928"/>
              <a:gd name="connsiteY0" fmla="*/ 0 h 18288"/>
              <a:gd name="connsiteX1" fmla="*/ 461292 w 10853928"/>
              <a:gd name="connsiteY1" fmla="*/ 0 h 18288"/>
              <a:gd name="connsiteX2" fmla="*/ 1139662 w 10853928"/>
              <a:gd name="connsiteY2" fmla="*/ 0 h 18288"/>
              <a:gd name="connsiteX3" fmla="*/ 1926572 w 10853928"/>
              <a:gd name="connsiteY3" fmla="*/ 0 h 18288"/>
              <a:gd name="connsiteX4" fmla="*/ 2279325 w 10853928"/>
              <a:gd name="connsiteY4" fmla="*/ 0 h 18288"/>
              <a:gd name="connsiteX5" fmla="*/ 2632078 w 10853928"/>
              <a:gd name="connsiteY5" fmla="*/ 0 h 18288"/>
              <a:gd name="connsiteX6" fmla="*/ 3527527 w 10853928"/>
              <a:gd name="connsiteY6" fmla="*/ 0 h 18288"/>
              <a:gd name="connsiteX7" fmla="*/ 4205897 w 10853928"/>
              <a:gd name="connsiteY7" fmla="*/ 0 h 18288"/>
              <a:gd name="connsiteX8" fmla="*/ 4558650 w 10853928"/>
              <a:gd name="connsiteY8" fmla="*/ 0 h 18288"/>
              <a:gd name="connsiteX9" fmla="*/ 5237020 w 10853928"/>
              <a:gd name="connsiteY9" fmla="*/ 0 h 18288"/>
              <a:gd name="connsiteX10" fmla="*/ 6132469 w 10853928"/>
              <a:gd name="connsiteY10" fmla="*/ 0 h 18288"/>
              <a:gd name="connsiteX11" fmla="*/ 6702301 w 10853928"/>
              <a:gd name="connsiteY11" fmla="*/ 0 h 18288"/>
              <a:gd name="connsiteX12" fmla="*/ 7272132 w 10853928"/>
              <a:gd name="connsiteY12" fmla="*/ 0 h 18288"/>
              <a:gd name="connsiteX13" fmla="*/ 7950502 w 10853928"/>
              <a:gd name="connsiteY13" fmla="*/ 0 h 18288"/>
              <a:gd name="connsiteX14" fmla="*/ 8737412 w 10853928"/>
              <a:gd name="connsiteY14" fmla="*/ 0 h 18288"/>
              <a:gd name="connsiteX15" fmla="*/ 9524322 w 10853928"/>
              <a:gd name="connsiteY15" fmla="*/ 0 h 18288"/>
              <a:gd name="connsiteX16" fmla="*/ 10853928 w 10853928"/>
              <a:gd name="connsiteY16" fmla="*/ 0 h 18288"/>
              <a:gd name="connsiteX17" fmla="*/ 10853928 w 10853928"/>
              <a:gd name="connsiteY17" fmla="*/ 18288 h 18288"/>
              <a:gd name="connsiteX18" fmla="*/ 10392636 w 10853928"/>
              <a:gd name="connsiteY18" fmla="*/ 18288 h 18288"/>
              <a:gd name="connsiteX19" fmla="*/ 9497187 w 10853928"/>
              <a:gd name="connsiteY19" fmla="*/ 18288 h 18288"/>
              <a:gd name="connsiteX20" fmla="*/ 8818817 w 10853928"/>
              <a:gd name="connsiteY20" fmla="*/ 18288 h 18288"/>
              <a:gd name="connsiteX21" fmla="*/ 8466064 w 10853928"/>
              <a:gd name="connsiteY21" fmla="*/ 18288 h 18288"/>
              <a:gd name="connsiteX22" fmla="*/ 7787693 w 10853928"/>
              <a:gd name="connsiteY22" fmla="*/ 18288 h 18288"/>
              <a:gd name="connsiteX23" fmla="*/ 7217862 w 10853928"/>
              <a:gd name="connsiteY23" fmla="*/ 18288 h 18288"/>
              <a:gd name="connsiteX24" fmla="*/ 6648031 w 10853928"/>
              <a:gd name="connsiteY24" fmla="*/ 18288 h 18288"/>
              <a:gd name="connsiteX25" fmla="*/ 6078200 w 10853928"/>
              <a:gd name="connsiteY25" fmla="*/ 18288 h 18288"/>
              <a:gd name="connsiteX26" fmla="*/ 5508368 w 10853928"/>
              <a:gd name="connsiteY26" fmla="*/ 18288 h 18288"/>
              <a:gd name="connsiteX27" fmla="*/ 4721459 w 10853928"/>
              <a:gd name="connsiteY27" fmla="*/ 18288 h 18288"/>
              <a:gd name="connsiteX28" fmla="*/ 4043088 w 10853928"/>
              <a:gd name="connsiteY28" fmla="*/ 18288 h 18288"/>
              <a:gd name="connsiteX29" fmla="*/ 3690336 w 10853928"/>
              <a:gd name="connsiteY29" fmla="*/ 18288 h 18288"/>
              <a:gd name="connsiteX30" fmla="*/ 3120504 w 10853928"/>
              <a:gd name="connsiteY30" fmla="*/ 18288 h 18288"/>
              <a:gd name="connsiteX31" fmla="*/ 2333595 w 10853928"/>
              <a:gd name="connsiteY31" fmla="*/ 18288 h 18288"/>
              <a:gd name="connsiteX32" fmla="*/ 1872303 w 10853928"/>
              <a:gd name="connsiteY32" fmla="*/ 18288 h 18288"/>
              <a:gd name="connsiteX33" fmla="*/ 976854 w 10853928"/>
              <a:gd name="connsiteY33" fmla="*/ 18288 h 18288"/>
              <a:gd name="connsiteX34" fmla="*/ 0 w 10853928"/>
              <a:gd name="connsiteY34" fmla="*/ 18288 h 18288"/>
              <a:gd name="connsiteX35" fmla="*/ 0 w 10853928"/>
              <a:gd name="connsiteY35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853928" h="18288" fill="none" extrusionOk="0">
                <a:moveTo>
                  <a:pt x="0" y="0"/>
                </a:moveTo>
                <a:cubicBezTo>
                  <a:pt x="146993" y="-19076"/>
                  <a:pt x="347684" y="-4790"/>
                  <a:pt x="461292" y="0"/>
                </a:cubicBezTo>
                <a:cubicBezTo>
                  <a:pt x="574900" y="4790"/>
                  <a:pt x="808367" y="19821"/>
                  <a:pt x="1139662" y="0"/>
                </a:cubicBezTo>
                <a:cubicBezTo>
                  <a:pt x="1470957" y="-19821"/>
                  <a:pt x="1627405" y="5721"/>
                  <a:pt x="1926572" y="0"/>
                </a:cubicBezTo>
                <a:cubicBezTo>
                  <a:pt x="2225739" y="-5721"/>
                  <a:pt x="2137730" y="-3235"/>
                  <a:pt x="2279325" y="0"/>
                </a:cubicBezTo>
                <a:cubicBezTo>
                  <a:pt x="2420920" y="3235"/>
                  <a:pt x="2456518" y="9685"/>
                  <a:pt x="2632078" y="0"/>
                </a:cubicBezTo>
                <a:cubicBezTo>
                  <a:pt x="2807638" y="-9685"/>
                  <a:pt x="3211516" y="-43007"/>
                  <a:pt x="3527527" y="0"/>
                </a:cubicBezTo>
                <a:cubicBezTo>
                  <a:pt x="3843538" y="43007"/>
                  <a:pt x="4058833" y="22042"/>
                  <a:pt x="4205897" y="0"/>
                </a:cubicBezTo>
                <a:cubicBezTo>
                  <a:pt x="4352961" y="-22042"/>
                  <a:pt x="4474805" y="-11846"/>
                  <a:pt x="4558650" y="0"/>
                </a:cubicBezTo>
                <a:cubicBezTo>
                  <a:pt x="4642495" y="11846"/>
                  <a:pt x="5041928" y="-6069"/>
                  <a:pt x="5237020" y="0"/>
                </a:cubicBezTo>
                <a:cubicBezTo>
                  <a:pt x="5432112" y="6069"/>
                  <a:pt x="5943266" y="-17479"/>
                  <a:pt x="6132469" y="0"/>
                </a:cubicBezTo>
                <a:cubicBezTo>
                  <a:pt x="6321672" y="17479"/>
                  <a:pt x="6483872" y="26234"/>
                  <a:pt x="6702301" y="0"/>
                </a:cubicBezTo>
                <a:cubicBezTo>
                  <a:pt x="6920730" y="-26234"/>
                  <a:pt x="6991194" y="-15156"/>
                  <a:pt x="7272132" y="0"/>
                </a:cubicBezTo>
                <a:cubicBezTo>
                  <a:pt x="7553070" y="15156"/>
                  <a:pt x="7684444" y="-32961"/>
                  <a:pt x="7950502" y="0"/>
                </a:cubicBezTo>
                <a:cubicBezTo>
                  <a:pt x="8216560" y="32961"/>
                  <a:pt x="8493290" y="-10491"/>
                  <a:pt x="8737412" y="0"/>
                </a:cubicBezTo>
                <a:cubicBezTo>
                  <a:pt x="8981534" y="10491"/>
                  <a:pt x="9191586" y="-13899"/>
                  <a:pt x="9524322" y="0"/>
                </a:cubicBezTo>
                <a:cubicBezTo>
                  <a:pt x="9857058" y="13899"/>
                  <a:pt x="10297509" y="7485"/>
                  <a:pt x="10853928" y="0"/>
                </a:cubicBezTo>
                <a:cubicBezTo>
                  <a:pt x="10854574" y="4451"/>
                  <a:pt x="10854418" y="9226"/>
                  <a:pt x="10853928" y="18288"/>
                </a:cubicBezTo>
                <a:cubicBezTo>
                  <a:pt x="10691638" y="28522"/>
                  <a:pt x="10574319" y="29578"/>
                  <a:pt x="10392636" y="18288"/>
                </a:cubicBezTo>
                <a:cubicBezTo>
                  <a:pt x="10210953" y="6998"/>
                  <a:pt x="9836277" y="-16742"/>
                  <a:pt x="9497187" y="18288"/>
                </a:cubicBezTo>
                <a:cubicBezTo>
                  <a:pt x="9158097" y="53318"/>
                  <a:pt x="9119479" y="30714"/>
                  <a:pt x="8818817" y="18288"/>
                </a:cubicBezTo>
                <a:cubicBezTo>
                  <a:pt x="8518155" y="5863"/>
                  <a:pt x="8640037" y="6483"/>
                  <a:pt x="8466064" y="18288"/>
                </a:cubicBezTo>
                <a:cubicBezTo>
                  <a:pt x="8292091" y="30093"/>
                  <a:pt x="7997656" y="18914"/>
                  <a:pt x="7787693" y="18288"/>
                </a:cubicBezTo>
                <a:cubicBezTo>
                  <a:pt x="7577730" y="17662"/>
                  <a:pt x="7412468" y="21416"/>
                  <a:pt x="7217862" y="18288"/>
                </a:cubicBezTo>
                <a:cubicBezTo>
                  <a:pt x="7023256" y="15160"/>
                  <a:pt x="6898018" y="14824"/>
                  <a:pt x="6648031" y="18288"/>
                </a:cubicBezTo>
                <a:cubicBezTo>
                  <a:pt x="6398044" y="21752"/>
                  <a:pt x="6254402" y="38625"/>
                  <a:pt x="6078200" y="18288"/>
                </a:cubicBezTo>
                <a:cubicBezTo>
                  <a:pt x="5901998" y="-2049"/>
                  <a:pt x="5622886" y="3213"/>
                  <a:pt x="5508368" y="18288"/>
                </a:cubicBezTo>
                <a:cubicBezTo>
                  <a:pt x="5393850" y="33363"/>
                  <a:pt x="5036260" y="26830"/>
                  <a:pt x="4721459" y="18288"/>
                </a:cubicBezTo>
                <a:cubicBezTo>
                  <a:pt x="4406658" y="9746"/>
                  <a:pt x="4239221" y="41551"/>
                  <a:pt x="4043088" y="18288"/>
                </a:cubicBezTo>
                <a:cubicBezTo>
                  <a:pt x="3846955" y="-4975"/>
                  <a:pt x="3818802" y="34658"/>
                  <a:pt x="3690336" y="18288"/>
                </a:cubicBezTo>
                <a:cubicBezTo>
                  <a:pt x="3561870" y="1918"/>
                  <a:pt x="3265491" y="42194"/>
                  <a:pt x="3120504" y="18288"/>
                </a:cubicBezTo>
                <a:cubicBezTo>
                  <a:pt x="2975517" y="-5618"/>
                  <a:pt x="2720254" y="36673"/>
                  <a:pt x="2333595" y="18288"/>
                </a:cubicBezTo>
                <a:cubicBezTo>
                  <a:pt x="1946936" y="-97"/>
                  <a:pt x="2097241" y="5776"/>
                  <a:pt x="1872303" y="18288"/>
                </a:cubicBezTo>
                <a:cubicBezTo>
                  <a:pt x="1647365" y="30800"/>
                  <a:pt x="1282708" y="45380"/>
                  <a:pt x="976854" y="18288"/>
                </a:cubicBezTo>
                <a:cubicBezTo>
                  <a:pt x="671000" y="-8804"/>
                  <a:pt x="408401" y="-12775"/>
                  <a:pt x="0" y="18288"/>
                </a:cubicBezTo>
                <a:cubicBezTo>
                  <a:pt x="-213" y="9468"/>
                  <a:pt x="187" y="4459"/>
                  <a:pt x="0" y="0"/>
                </a:cubicBezTo>
                <a:close/>
              </a:path>
              <a:path w="10853928" h="18288" stroke="0" extrusionOk="0">
                <a:moveTo>
                  <a:pt x="0" y="0"/>
                </a:moveTo>
                <a:cubicBezTo>
                  <a:pt x="267322" y="15284"/>
                  <a:pt x="415388" y="-21048"/>
                  <a:pt x="569831" y="0"/>
                </a:cubicBezTo>
                <a:cubicBezTo>
                  <a:pt x="724274" y="21048"/>
                  <a:pt x="769333" y="-2353"/>
                  <a:pt x="922584" y="0"/>
                </a:cubicBezTo>
                <a:cubicBezTo>
                  <a:pt x="1075835" y="2353"/>
                  <a:pt x="1399490" y="-145"/>
                  <a:pt x="1818033" y="0"/>
                </a:cubicBezTo>
                <a:cubicBezTo>
                  <a:pt x="2236576" y="145"/>
                  <a:pt x="2145330" y="5482"/>
                  <a:pt x="2387864" y="0"/>
                </a:cubicBezTo>
                <a:cubicBezTo>
                  <a:pt x="2630398" y="-5482"/>
                  <a:pt x="2793207" y="18487"/>
                  <a:pt x="2957695" y="0"/>
                </a:cubicBezTo>
                <a:cubicBezTo>
                  <a:pt x="3122183" y="-18487"/>
                  <a:pt x="3579141" y="19003"/>
                  <a:pt x="3853144" y="0"/>
                </a:cubicBezTo>
                <a:cubicBezTo>
                  <a:pt x="4127147" y="-19003"/>
                  <a:pt x="4209857" y="12211"/>
                  <a:pt x="4314436" y="0"/>
                </a:cubicBezTo>
                <a:cubicBezTo>
                  <a:pt x="4419015" y="-12211"/>
                  <a:pt x="4762459" y="-17220"/>
                  <a:pt x="5209885" y="0"/>
                </a:cubicBezTo>
                <a:cubicBezTo>
                  <a:pt x="5657311" y="17220"/>
                  <a:pt x="5692663" y="-3290"/>
                  <a:pt x="6105335" y="0"/>
                </a:cubicBezTo>
                <a:cubicBezTo>
                  <a:pt x="6518007" y="3290"/>
                  <a:pt x="6455516" y="-5124"/>
                  <a:pt x="6783705" y="0"/>
                </a:cubicBezTo>
                <a:cubicBezTo>
                  <a:pt x="7111894" y="5124"/>
                  <a:pt x="7441941" y="-17829"/>
                  <a:pt x="7679154" y="0"/>
                </a:cubicBezTo>
                <a:cubicBezTo>
                  <a:pt x="7916367" y="17829"/>
                  <a:pt x="8102967" y="-24363"/>
                  <a:pt x="8248985" y="0"/>
                </a:cubicBezTo>
                <a:cubicBezTo>
                  <a:pt x="8395003" y="24363"/>
                  <a:pt x="8552393" y="25505"/>
                  <a:pt x="8818817" y="0"/>
                </a:cubicBezTo>
                <a:cubicBezTo>
                  <a:pt x="9085241" y="-25505"/>
                  <a:pt x="9411308" y="38000"/>
                  <a:pt x="9605726" y="0"/>
                </a:cubicBezTo>
                <a:cubicBezTo>
                  <a:pt x="9800144" y="-38000"/>
                  <a:pt x="10006468" y="-25741"/>
                  <a:pt x="10175558" y="0"/>
                </a:cubicBezTo>
                <a:cubicBezTo>
                  <a:pt x="10344648" y="25741"/>
                  <a:pt x="10696282" y="695"/>
                  <a:pt x="10853928" y="0"/>
                </a:cubicBezTo>
                <a:cubicBezTo>
                  <a:pt x="10853521" y="8690"/>
                  <a:pt x="10853774" y="14141"/>
                  <a:pt x="10853928" y="18288"/>
                </a:cubicBezTo>
                <a:cubicBezTo>
                  <a:pt x="10608124" y="24255"/>
                  <a:pt x="10343415" y="22307"/>
                  <a:pt x="10067018" y="18288"/>
                </a:cubicBezTo>
                <a:cubicBezTo>
                  <a:pt x="9790621" y="14270"/>
                  <a:pt x="9843266" y="3564"/>
                  <a:pt x="9714266" y="18288"/>
                </a:cubicBezTo>
                <a:cubicBezTo>
                  <a:pt x="9585266" y="33012"/>
                  <a:pt x="9379484" y="1875"/>
                  <a:pt x="9252974" y="18288"/>
                </a:cubicBezTo>
                <a:cubicBezTo>
                  <a:pt x="9126464" y="34701"/>
                  <a:pt x="8580678" y="-4904"/>
                  <a:pt x="8357525" y="18288"/>
                </a:cubicBezTo>
                <a:cubicBezTo>
                  <a:pt x="8134372" y="41480"/>
                  <a:pt x="7903199" y="26458"/>
                  <a:pt x="7679154" y="18288"/>
                </a:cubicBezTo>
                <a:cubicBezTo>
                  <a:pt x="7455109" y="10118"/>
                  <a:pt x="7435944" y="27109"/>
                  <a:pt x="7217862" y="18288"/>
                </a:cubicBezTo>
                <a:cubicBezTo>
                  <a:pt x="6999780" y="9467"/>
                  <a:pt x="6680409" y="18985"/>
                  <a:pt x="6539492" y="18288"/>
                </a:cubicBezTo>
                <a:cubicBezTo>
                  <a:pt x="6398575" y="17592"/>
                  <a:pt x="6312077" y="33018"/>
                  <a:pt x="6186739" y="18288"/>
                </a:cubicBezTo>
                <a:cubicBezTo>
                  <a:pt x="6061401" y="3558"/>
                  <a:pt x="5947033" y="12075"/>
                  <a:pt x="5833986" y="18288"/>
                </a:cubicBezTo>
                <a:cubicBezTo>
                  <a:pt x="5720939" y="24501"/>
                  <a:pt x="5482226" y="8586"/>
                  <a:pt x="5155616" y="18288"/>
                </a:cubicBezTo>
                <a:cubicBezTo>
                  <a:pt x="4829006" y="27991"/>
                  <a:pt x="4841274" y="29316"/>
                  <a:pt x="4694324" y="18288"/>
                </a:cubicBezTo>
                <a:cubicBezTo>
                  <a:pt x="4547374" y="7260"/>
                  <a:pt x="4077675" y="7013"/>
                  <a:pt x="3907414" y="18288"/>
                </a:cubicBezTo>
                <a:cubicBezTo>
                  <a:pt x="3737153" y="29564"/>
                  <a:pt x="3538393" y="21630"/>
                  <a:pt x="3446122" y="18288"/>
                </a:cubicBezTo>
                <a:cubicBezTo>
                  <a:pt x="3353851" y="14946"/>
                  <a:pt x="2990320" y="-8091"/>
                  <a:pt x="2659212" y="18288"/>
                </a:cubicBezTo>
                <a:cubicBezTo>
                  <a:pt x="2328104" y="44667"/>
                  <a:pt x="2427653" y="9607"/>
                  <a:pt x="2306460" y="18288"/>
                </a:cubicBezTo>
                <a:cubicBezTo>
                  <a:pt x="2185267" y="26969"/>
                  <a:pt x="1719763" y="3717"/>
                  <a:pt x="1519550" y="18288"/>
                </a:cubicBezTo>
                <a:cubicBezTo>
                  <a:pt x="1319337" y="32860"/>
                  <a:pt x="1167371" y="17040"/>
                  <a:pt x="1058258" y="18288"/>
                </a:cubicBezTo>
                <a:cubicBezTo>
                  <a:pt x="949145" y="19536"/>
                  <a:pt x="780234" y="31447"/>
                  <a:pt x="705505" y="18288"/>
                </a:cubicBezTo>
                <a:cubicBezTo>
                  <a:pt x="630776" y="5129"/>
                  <a:pt x="215796" y="30056"/>
                  <a:pt x="0" y="18288"/>
                </a:cubicBezTo>
                <a:cubicBezTo>
                  <a:pt x="-53" y="11301"/>
                  <a:pt x="-649" y="7756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929384"/>
            <a:ext cx="10515600" cy="4633622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fr-FR" sz="1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1)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L’entreprise achète, en réglant par chèque, pour </a:t>
            </a:r>
            <a:r>
              <a:rPr lang="fr-FR" sz="1800" dirty="0"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10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0 000 € de marchandises.</a:t>
            </a:r>
          </a:p>
          <a:p>
            <a:pPr marL="361950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 Les comptes en jeu.</a:t>
            </a:r>
          </a:p>
          <a:p>
            <a:endParaRPr lang="fr-FR" sz="1800" b="1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2)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L’entreprise achète, à crédit, pour 200 000 € de matières premières.</a:t>
            </a:r>
          </a:p>
          <a:p>
            <a:pPr marL="361950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 Les comptes en jeu.</a:t>
            </a:r>
          </a:p>
          <a:p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3)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L’entreprise perçoit 500 € d'intérêts suite à un placement effectué dans une banque.</a:t>
            </a:r>
          </a:p>
          <a:p>
            <a:pPr marL="361950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 Les comptes en jeu.</a:t>
            </a:r>
          </a:p>
          <a:p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4)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L’entreprise vend des produits finis, à crédit, pour 500 000 €.</a:t>
            </a:r>
          </a:p>
          <a:p>
            <a:pPr marL="361950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 Les comptes en jeu.</a:t>
            </a:r>
          </a:p>
          <a:p>
            <a:endParaRPr lang="fr-FR" sz="1500" dirty="0"/>
          </a:p>
        </p:txBody>
      </p:sp>
    </p:spTree>
    <p:extLst>
      <p:ext uri="{BB962C8B-B14F-4D97-AF65-F5344CB8AC3E}">
        <p14:creationId xmlns:p14="http://schemas.microsoft.com/office/powerpoint/2010/main" val="291615658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100EDD19-6802-4EC3-95CE-CFFAB042C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fr-FR" sz="5400" dirty="0"/>
              <a:t>Comptabilisation – Correction UP1</a:t>
            </a:r>
          </a:p>
        </p:txBody>
      </p:sp>
      <p:sp>
        <p:nvSpPr>
          <p:cNvPr id="19" name="sketch line">
            <a:extLst>
              <a:ext uri="{FF2B5EF4-FFF2-40B4-BE49-F238E27FC236}">
                <a16:creationId xmlns:a16="http://schemas.microsoft.com/office/drawing/2014/main" id="{DB17E863-922E-4C26-BD64-E8FD41D286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9036" y="1677373"/>
            <a:ext cx="10853928" cy="18288"/>
          </a:xfrm>
          <a:custGeom>
            <a:avLst/>
            <a:gdLst>
              <a:gd name="connsiteX0" fmla="*/ 0 w 10853928"/>
              <a:gd name="connsiteY0" fmla="*/ 0 h 18288"/>
              <a:gd name="connsiteX1" fmla="*/ 461292 w 10853928"/>
              <a:gd name="connsiteY1" fmla="*/ 0 h 18288"/>
              <a:gd name="connsiteX2" fmla="*/ 1139662 w 10853928"/>
              <a:gd name="connsiteY2" fmla="*/ 0 h 18288"/>
              <a:gd name="connsiteX3" fmla="*/ 1926572 w 10853928"/>
              <a:gd name="connsiteY3" fmla="*/ 0 h 18288"/>
              <a:gd name="connsiteX4" fmla="*/ 2279325 w 10853928"/>
              <a:gd name="connsiteY4" fmla="*/ 0 h 18288"/>
              <a:gd name="connsiteX5" fmla="*/ 2632078 w 10853928"/>
              <a:gd name="connsiteY5" fmla="*/ 0 h 18288"/>
              <a:gd name="connsiteX6" fmla="*/ 3527527 w 10853928"/>
              <a:gd name="connsiteY6" fmla="*/ 0 h 18288"/>
              <a:gd name="connsiteX7" fmla="*/ 4205897 w 10853928"/>
              <a:gd name="connsiteY7" fmla="*/ 0 h 18288"/>
              <a:gd name="connsiteX8" fmla="*/ 4558650 w 10853928"/>
              <a:gd name="connsiteY8" fmla="*/ 0 h 18288"/>
              <a:gd name="connsiteX9" fmla="*/ 5237020 w 10853928"/>
              <a:gd name="connsiteY9" fmla="*/ 0 h 18288"/>
              <a:gd name="connsiteX10" fmla="*/ 6132469 w 10853928"/>
              <a:gd name="connsiteY10" fmla="*/ 0 h 18288"/>
              <a:gd name="connsiteX11" fmla="*/ 6702301 w 10853928"/>
              <a:gd name="connsiteY11" fmla="*/ 0 h 18288"/>
              <a:gd name="connsiteX12" fmla="*/ 7272132 w 10853928"/>
              <a:gd name="connsiteY12" fmla="*/ 0 h 18288"/>
              <a:gd name="connsiteX13" fmla="*/ 7950502 w 10853928"/>
              <a:gd name="connsiteY13" fmla="*/ 0 h 18288"/>
              <a:gd name="connsiteX14" fmla="*/ 8737412 w 10853928"/>
              <a:gd name="connsiteY14" fmla="*/ 0 h 18288"/>
              <a:gd name="connsiteX15" fmla="*/ 9524322 w 10853928"/>
              <a:gd name="connsiteY15" fmla="*/ 0 h 18288"/>
              <a:gd name="connsiteX16" fmla="*/ 10853928 w 10853928"/>
              <a:gd name="connsiteY16" fmla="*/ 0 h 18288"/>
              <a:gd name="connsiteX17" fmla="*/ 10853928 w 10853928"/>
              <a:gd name="connsiteY17" fmla="*/ 18288 h 18288"/>
              <a:gd name="connsiteX18" fmla="*/ 10392636 w 10853928"/>
              <a:gd name="connsiteY18" fmla="*/ 18288 h 18288"/>
              <a:gd name="connsiteX19" fmla="*/ 9497187 w 10853928"/>
              <a:gd name="connsiteY19" fmla="*/ 18288 h 18288"/>
              <a:gd name="connsiteX20" fmla="*/ 8818817 w 10853928"/>
              <a:gd name="connsiteY20" fmla="*/ 18288 h 18288"/>
              <a:gd name="connsiteX21" fmla="*/ 8466064 w 10853928"/>
              <a:gd name="connsiteY21" fmla="*/ 18288 h 18288"/>
              <a:gd name="connsiteX22" fmla="*/ 7787693 w 10853928"/>
              <a:gd name="connsiteY22" fmla="*/ 18288 h 18288"/>
              <a:gd name="connsiteX23" fmla="*/ 7217862 w 10853928"/>
              <a:gd name="connsiteY23" fmla="*/ 18288 h 18288"/>
              <a:gd name="connsiteX24" fmla="*/ 6648031 w 10853928"/>
              <a:gd name="connsiteY24" fmla="*/ 18288 h 18288"/>
              <a:gd name="connsiteX25" fmla="*/ 6078200 w 10853928"/>
              <a:gd name="connsiteY25" fmla="*/ 18288 h 18288"/>
              <a:gd name="connsiteX26" fmla="*/ 5508368 w 10853928"/>
              <a:gd name="connsiteY26" fmla="*/ 18288 h 18288"/>
              <a:gd name="connsiteX27" fmla="*/ 4721459 w 10853928"/>
              <a:gd name="connsiteY27" fmla="*/ 18288 h 18288"/>
              <a:gd name="connsiteX28" fmla="*/ 4043088 w 10853928"/>
              <a:gd name="connsiteY28" fmla="*/ 18288 h 18288"/>
              <a:gd name="connsiteX29" fmla="*/ 3690336 w 10853928"/>
              <a:gd name="connsiteY29" fmla="*/ 18288 h 18288"/>
              <a:gd name="connsiteX30" fmla="*/ 3120504 w 10853928"/>
              <a:gd name="connsiteY30" fmla="*/ 18288 h 18288"/>
              <a:gd name="connsiteX31" fmla="*/ 2333595 w 10853928"/>
              <a:gd name="connsiteY31" fmla="*/ 18288 h 18288"/>
              <a:gd name="connsiteX32" fmla="*/ 1872303 w 10853928"/>
              <a:gd name="connsiteY32" fmla="*/ 18288 h 18288"/>
              <a:gd name="connsiteX33" fmla="*/ 976854 w 10853928"/>
              <a:gd name="connsiteY33" fmla="*/ 18288 h 18288"/>
              <a:gd name="connsiteX34" fmla="*/ 0 w 10853928"/>
              <a:gd name="connsiteY34" fmla="*/ 18288 h 18288"/>
              <a:gd name="connsiteX35" fmla="*/ 0 w 10853928"/>
              <a:gd name="connsiteY35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853928" h="18288" fill="none" extrusionOk="0">
                <a:moveTo>
                  <a:pt x="0" y="0"/>
                </a:moveTo>
                <a:cubicBezTo>
                  <a:pt x="146993" y="-19076"/>
                  <a:pt x="347684" y="-4790"/>
                  <a:pt x="461292" y="0"/>
                </a:cubicBezTo>
                <a:cubicBezTo>
                  <a:pt x="574900" y="4790"/>
                  <a:pt x="808367" y="19821"/>
                  <a:pt x="1139662" y="0"/>
                </a:cubicBezTo>
                <a:cubicBezTo>
                  <a:pt x="1470957" y="-19821"/>
                  <a:pt x="1627405" y="5721"/>
                  <a:pt x="1926572" y="0"/>
                </a:cubicBezTo>
                <a:cubicBezTo>
                  <a:pt x="2225739" y="-5721"/>
                  <a:pt x="2137730" y="-3235"/>
                  <a:pt x="2279325" y="0"/>
                </a:cubicBezTo>
                <a:cubicBezTo>
                  <a:pt x="2420920" y="3235"/>
                  <a:pt x="2456518" y="9685"/>
                  <a:pt x="2632078" y="0"/>
                </a:cubicBezTo>
                <a:cubicBezTo>
                  <a:pt x="2807638" y="-9685"/>
                  <a:pt x="3211516" y="-43007"/>
                  <a:pt x="3527527" y="0"/>
                </a:cubicBezTo>
                <a:cubicBezTo>
                  <a:pt x="3843538" y="43007"/>
                  <a:pt x="4058833" y="22042"/>
                  <a:pt x="4205897" y="0"/>
                </a:cubicBezTo>
                <a:cubicBezTo>
                  <a:pt x="4352961" y="-22042"/>
                  <a:pt x="4474805" y="-11846"/>
                  <a:pt x="4558650" y="0"/>
                </a:cubicBezTo>
                <a:cubicBezTo>
                  <a:pt x="4642495" y="11846"/>
                  <a:pt x="5041928" y="-6069"/>
                  <a:pt x="5237020" y="0"/>
                </a:cubicBezTo>
                <a:cubicBezTo>
                  <a:pt x="5432112" y="6069"/>
                  <a:pt x="5943266" y="-17479"/>
                  <a:pt x="6132469" y="0"/>
                </a:cubicBezTo>
                <a:cubicBezTo>
                  <a:pt x="6321672" y="17479"/>
                  <a:pt x="6483872" y="26234"/>
                  <a:pt x="6702301" y="0"/>
                </a:cubicBezTo>
                <a:cubicBezTo>
                  <a:pt x="6920730" y="-26234"/>
                  <a:pt x="6991194" y="-15156"/>
                  <a:pt x="7272132" y="0"/>
                </a:cubicBezTo>
                <a:cubicBezTo>
                  <a:pt x="7553070" y="15156"/>
                  <a:pt x="7684444" y="-32961"/>
                  <a:pt x="7950502" y="0"/>
                </a:cubicBezTo>
                <a:cubicBezTo>
                  <a:pt x="8216560" y="32961"/>
                  <a:pt x="8493290" y="-10491"/>
                  <a:pt x="8737412" y="0"/>
                </a:cubicBezTo>
                <a:cubicBezTo>
                  <a:pt x="8981534" y="10491"/>
                  <a:pt x="9191586" y="-13899"/>
                  <a:pt x="9524322" y="0"/>
                </a:cubicBezTo>
                <a:cubicBezTo>
                  <a:pt x="9857058" y="13899"/>
                  <a:pt x="10297509" y="7485"/>
                  <a:pt x="10853928" y="0"/>
                </a:cubicBezTo>
                <a:cubicBezTo>
                  <a:pt x="10854574" y="4451"/>
                  <a:pt x="10854418" y="9226"/>
                  <a:pt x="10853928" y="18288"/>
                </a:cubicBezTo>
                <a:cubicBezTo>
                  <a:pt x="10691638" y="28522"/>
                  <a:pt x="10574319" y="29578"/>
                  <a:pt x="10392636" y="18288"/>
                </a:cubicBezTo>
                <a:cubicBezTo>
                  <a:pt x="10210953" y="6998"/>
                  <a:pt x="9836277" y="-16742"/>
                  <a:pt x="9497187" y="18288"/>
                </a:cubicBezTo>
                <a:cubicBezTo>
                  <a:pt x="9158097" y="53318"/>
                  <a:pt x="9119479" y="30714"/>
                  <a:pt x="8818817" y="18288"/>
                </a:cubicBezTo>
                <a:cubicBezTo>
                  <a:pt x="8518155" y="5863"/>
                  <a:pt x="8640037" y="6483"/>
                  <a:pt x="8466064" y="18288"/>
                </a:cubicBezTo>
                <a:cubicBezTo>
                  <a:pt x="8292091" y="30093"/>
                  <a:pt x="7997656" y="18914"/>
                  <a:pt x="7787693" y="18288"/>
                </a:cubicBezTo>
                <a:cubicBezTo>
                  <a:pt x="7577730" y="17662"/>
                  <a:pt x="7412468" y="21416"/>
                  <a:pt x="7217862" y="18288"/>
                </a:cubicBezTo>
                <a:cubicBezTo>
                  <a:pt x="7023256" y="15160"/>
                  <a:pt x="6898018" y="14824"/>
                  <a:pt x="6648031" y="18288"/>
                </a:cubicBezTo>
                <a:cubicBezTo>
                  <a:pt x="6398044" y="21752"/>
                  <a:pt x="6254402" y="38625"/>
                  <a:pt x="6078200" y="18288"/>
                </a:cubicBezTo>
                <a:cubicBezTo>
                  <a:pt x="5901998" y="-2049"/>
                  <a:pt x="5622886" y="3213"/>
                  <a:pt x="5508368" y="18288"/>
                </a:cubicBezTo>
                <a:cubicBezTo>
                  <a:pt x="5393850" y="33363"/>
                  <a:pt x="5036260" y="26830"/>
                  <a:pt x="4721459" y="18288"/>
                </a:cubicBezTo>
                <a:cubicBezTo>
                  <a:pt x="4406658" y="9746"/>
                  <a:pt x="4239221" y="41551"/>
                  <a:pt x="4043088" y="18288"/>
                </a:cubicBezTo>
                <a:cubicBezTo>
                  <a:pt x="3846955" y="-4975"/>
                  <a:pt x="3818802" y="34658"/>
                  <a:pt x="3690336" y="18288"/>
                </a:cubicBezTo>
                <a:cubicBezTo>
                  <a:pt x="3561870" y="1918"/>
                  <a:pt x="3265491" y="42194"/>
                  <a:pt x="3120504" y="18288"/>
                </a:cubicBezTo>
                <a:cubicBezTo>
                  <a:pt x="2975517" y="-5618"/>
                  <a:pt x="2720254" y="36673"/>
                  <a:pt x="2333595" y="18288"/>
                </a:cubicBezTo>
                <a:cubicBezTo>
                  <a:pt x="1946936" y="-97"/>
                  <a:pt x="2097241" y="5776"/>
                  <a:pt x="1872303" y="18288"/>
                </a:cubicBezTo>
                <a:cubicBezTo>
                  <a:pt x="1647365" y="30800"/>
                  <a:pt x="1282708" y="45380"/>
                  <a:pt x="976854" y="18288"/>
                </a:cubicBezTo>
                <a:cubicBezTo>
                  <a:pt x="671000" y="-8804"/>
                  <a:pt x="408401" y="-12775"/>
                  <a:pt x="0" y="18288"/>
                </a:cubicBezTo>
                <a:cubicBezTo>
                  <a:pt x="-213" y="9468"/>
                  <a:pt x="187" y="4459"/>
                  <a:pt x="0" y="0"/>
                </a:cubicBezTo>
                <a:close/>
              </a:path>
              <a:path w="10853928" h="18288" stroke="0" extrusionOk="0">
                <a:moveTo>
                  <a:pt x="0" y="0"/>
                </a:moveTo>
                <a:cubicBezTo>
                  <a:pt x="267322" y="15284"/>
                  <a:pt x="415388" y="-21048"/>
                  <a:pt x="569831" y="0"/>
                </a:cubicBezTo>
                <a:cubicBezTo>
                  <a:pt x="724274" y="21048"/>
                  <a:pt x="769333" y="-2353"/>
                  <a:pt x="922584" y="0"/>
                </a:cubicBezTo>
                <a:cubicBezTo>
                  <a:pt x="1075835" y="2353"/>
                  <a:pt x="1399490" y="-145"/>
                  <a:pt x="1818033" y="0"/>
                </a:cubicBezTo>
                <a:cubicBezTo>
                  <a:pt x="2236576" y="145"/>
                  <a:pt x="2145330" y="5482"/>
                  <a:pt x="2387864" y="0"/>
                </a:cubicBezTo>
                <a:cubicBezTo>
                  <a:pt x="2630398" y="-5482"/>
                  <a:pt x="2793207" y="18487"/>
                  <a:pt x="2957695" y="0"/>
                </a:cubicBezTo>
                <a:cubicBezTo>
                  <a:pt x="3122183" y="-18487"/>
                  <a:pt x="3579141" y="19003"/>
                  <a:pt x="3853144" y="0"/>
                </a:cubicBezTo>
                <a:cubicBezTo>
                  <a:pt x="4127147" y="-19003"/>
                  <a:pt x="4209857" y="12211"/>
                  <a:pt x="4314436" y="0"/>
                </a:cubicBezTo>
                <a:cubicBezTo>
                  <a:pt x="4419015" y="-12211"/>
                  <a:pt x="4762459" y="-17220"/>
                  <a:pt x="5209885" y="0"/>
                </a:cubicBezTo>
                <a:cubicBezTo>
                  <a:pt x="5657311" y="17220"/>
                  <a:pt x="5692663" y="-3290"/>
                  <a:pt x="6105335" y="0"/>
                </a:cubicBezTo>
                <a:cubicBezTo>
                  <a:pt x="6518007" y="3290"/>
                  <a:pt x="6455516" y="-5124"/>
                  <a:pt x="6783705" y="0"/>
                </a:cubicBezTo>
                <a:cubicBezTo>
                  <a:pt x="7111894" y="5124"/>
                  <a:pt x="7441941" y="-17829"/>
                  <a:pt x="7679154" y="0"/>
                </a:cubicBezTo>
                <a:cubicBezTo>
                  <a:pt x="7916367" y="17829"/>
                  <a:pt x="8102967" y="-24363"/>
                  <a:pt x="8248985" y="0"/>
                </a:cubicBezTo>
                <a:cubicBezTo>
                  <a:pt x="8395003" y="24363"/>
                  <a:pt x="8552393" y="25505"/>
                  <a:pt x="8818817" y="0"/>
                </a:cubicBezTo>
                <a:cubicBezTo>
                  <a:pt x="9085241" y="-25505"/>
                  <a:pt x="9411308" y="38000"/>
                  <a:pt x="9605726" y="0"/>
                </a:cubicBezTo>
                <a:cubicBezTo>
                  <a:pt x="9800144" y="-38000"/>
                  <a:pt x="10006468" y="-25741"/>
                  <a:pt x="10175558" y="0"/>
                </a:cubicBezTo>
                <a:cubicBezTo>
                  <a:pt x="10344648" y="25741"/>
                  <a:pt x="10696282" y="695"/>
                  <a:pt x="10853928" y="0"/>
                </a:cubicBezTo>
                <a:cubicBezTo>
                  <a:pt x="10853521" y="8690"/>
                  <a:pt x="10853774" y="14141"/>
                  <a:pt x="10853928" y="18288"/>
                </a:cubicBezTo>
                <a:cubicBezTo>
                  <a:pt x="10608124" y="24255"/>
                  <a:pt x="10343415" y="22307"/>
                  <a:pt x="10067018" y="18288"/>
                </a:cubicBezTo>
                <a:cubicBezTo>
                  <a:pt x="9790621" y="14270"/>
                  <a:pt x="9843266" y="3564"/>
                  <a:pt x="9714266" y="18288"/>
                </a:cubicBezTo>
                <a:cubicBezTo>
                  <a:pt x="9585266" y="33012"/>
                  <a:pt x="9379484" y="1875"/>
                  <a:pt x="9252974" y="18288"/>
                </a:cubicBezTo>
                <a:cubicBezTo>
                  <a:pt x="9126464" y="34701"/>
                  <a:pt x="8580678" y="-4904"/>
                  <a:pt x="8357525" y="18288"/>
                </a:cubicBezTo>
                <a:cubicBezTo>
                  <a:pt x="8134372" y="41480"/>
                  <a:pt x="7903199" y="26458"/>
                  <a:pt x="7679154" y="18288"/>
                </a:cubicBezTo>
                <a:cubicBezTo>
                  <a:pt x="7455109" y="10118"/>
                  <a:pt x="7435944" y="27109"/>
                  <a:pt x="7217862" y="18288"/>
                </a:cubicBezTo>
                <a:cubicBezTo>
                  <a:pt x="6999780" y="9467"/>
                  <a:pt x="6680409" y="18985"/>
                  <a:pt x="6539492" y="18288"/>
                </a:cubicBezTo>
                <a:cubicBezTo>
                  <a:pt x="6398575" y="17592"/>
                  <a:pt x="6312077" y="33018"/>
                  <a:pt x="6186739" y="18288"/>
                </a:cubicBezTo>
                <a:cubicBezTo>
                  <a:pt x="6061401" y="3558"/>
                  <a:pt x="5947033" y="12075"/>
                  <a:pt x="5833986" y="18288"/>
                </a:cubicBezTo>
                <a:cubicBezTo>
                  <a:pt x="5720939" y="24501"/>
                  <a:pt x="5482226" y="8586"/>
                  <a:pt x="5155616" y="18288"/>
                </a:cubicBezTo>
                <a:cubicBezTo>
                  <a:pt x="4829006" y="27991"/>
                  <a:pt x="4841274" y="29316"/>
                  <a:pt x="4694324" y="18288"/>
                </a:cubicBezTo>
                <a:cubicBezTo>
                  <a:pt x="4547374" y="7260"/>
                  <a:pt x="4077675" y="7013"/>
                  <a:pt x="3907414" y="18288"/>
                </a:cubicBezTo>
                <a:cubicBezTo>
                  <a:pt x="3737153" y="29564"/>
                  <a:pt x="3538393" y="21630"/>
                  <a:pt x="3446122" y="18288"/>
                </a:cubicBezTo>
                <a:cubicBezTo>
                  <a:pt x="3353851" y="14946"/>
                  <a:pt x="2990320" y="-8091"/>
                  <a:pt x="2659212" y="18288"/>
                </a:cubicBezTo>
                <a:cubicBezTo>
                  <a:pt x="2328104" y="44667"/>
                  <a:pt x="2427653" y="9607"/>
                  <a:pt x="2306460" y="18288"/>
                </a:cubicBezTo>
                <a:cubicBezTo>
                  <a:pt x="2185267" y="26969"/>
                  <a:pt x="1719763" y="3717"/>
                  <a:pt x="1519550" y="18288"/>
                </a:cubicBezTo>
                <a:cubicBezTo>
                  <a:pt x="1319337" y="32860"/>
                  <a:pt x="1167371" y="17040"/>
                  <a:pt x="1058258" y="18288"/>
                </a:cubicBezTo>
                <a:cubicBezTo>
                  <a:pt x="949145" y="19536"/>
                  <a:pt x="780234" y="31447"/>
                  <a:pt x="705505" y="18288"/>
                </a:cubicBezTo>
                <a:cubicBezTo>
                  <a:pt x="630776" y="5129"/>
                  <a:pt x="215796" y="30056"/>
                  <a:pt x="0" y="18288"/>
                </a:cubicBezTo>
                <a:cubicBezTo>
                  <a:pt x="-53" y="11301"/>
                  <a:pt x="-649" y="7756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929384"/>
            <a:ext cx="10515600" cy="4633622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fr-FR" sz="1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1)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L’entreprise achète, en réglant par chèque, pour 100 000 € de marchandises.</a:t>
            </a:r>
          </a:p>
          <a:p>
            <a:pPr marL="723900"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 512 Banque</a:t>
            </a:r>
          </a:p>
          <a:p>
            <a:pPr marL="723900"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 607 Achats de marchandises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2)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L’entreprise achète, à crédit, pour 200 000 € de matières premières.</a:t>
            </a:r>
          </a:p>
          <a:p>
            <a:pPr marL="723900"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 601 Achat de matières 1</a:t>
            </a:r>
            <a:r>
              <a:rPr lang="fr-FR" sz="1800" baseline="30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ères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marL="723900"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 401 Fournisseurs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3)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L’entreprise perçoit 500 € d'intérêts suite à un placement effectué dans une banque.</a:t>
            </a:r>
          </a:p>
          <a:p>
            <a:pPr marL="723900"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 512 Banque</a:t>
            </a:r>
          </a:p>
          <a:p>
            <a:pPr marL="723900"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 76 Produits financiers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4)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L’entreprise vend des produits finis, à crédit, pour 500 000 €.</a:t>
            </a:r>
          </a:p>
          <a:p>
            <a:pPr marL="723900"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 701 Vente de produits finis</a:t>
            </a:r>
          </a:p>
          <a:p>
            <a:pPr marL="723900"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 411 Clients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endParaRPr lang="fr-FR" sz="1500" dirty="0"/>
          </a:p>
        </p:txBody>
      </p:sp>
    </p:spTree>
    <p:extLst>
      <p:ext uri="{BB962C8B-B14F-4D97-AF65-F5344CB8AC3E}">
        <p14:creationId xmlns:p14="http://schemas.microsoft.com/office/powerpoint/2010/main" val="127250543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100EDD19-6802-4EC3-95CE-CFFAB042C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fr-FR" sz="5400" dirty="0"/>
              <a:t>Comptabilisation – cas UP1 (suite) </a:t>
            </a:r>
          </a:p>
        </p:txBody>
      </p:sp>
      <p:sp>
        <p:nvSpPr>
          <p:cNvPr id="19" name="sketch line">
            <a:extLst>
              <a:ext uri="{FF2B5EF4-FFF2-40B4-BE49-F238E27FC236}">
                <a16:creationId xmlns:a16="http://schemas.microsoft.com/office/drawing/2014/main" id="{DB17E863-922E-4C26-BD64-E8FD41D286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9036" y="1677373"/>
            <a:ext cx="10853928" cy="18288"/>
          </a:xfrm>
          <a:custGeom>
            <a:avLst/>
            <a:gdLst>
              <a:gd name="connsiteX0" fmla="*/ 0 w 10853928"/>
              <a:gd name="connsiteY0" fmla="*/ 0 h 18288"/>
              <a:gd name="connsiteX1" fmla="*/ 461292 w 10853928"/>
              <a:gd name="connsiteY1" fmla="*/ 0 h 18288"/>
              <a:gd name="connsiteX2" fmla="*/ 1139662 w 10853928"/>
              <a:gd name="connsiteY2" fmla="*/ 0 h 18288"/>
              <a:gd name="connsiteX3" fmla="*/ 1926572 w 10853928"/>
              <a:gd name="connsiteY3" fmla="*/ 0 h 18288"/>
              <a:gd name="connsiteX4" fmla="*/ 2279325 w 10853928"/>
              <a:gd name="connsiteY4" fmla="*/ 0 h 18288"/>
              <a:gd name="connsiteX5" fmla="*/ 2632078 w 10853928"/>
              <a:gd name="connsiteY5" fmla="*/ 0 h 18288"/>
              <a:gd name="connsiteX6" fmla="*/ 3527527 w 10853928"/>
              <a:gd name="connsiteY6" fmla="*/ 0 h 18288"/>
              <a:gd name="connsiteX7" fmla="*/ 4205897 w 10853928"/>
              <a:gd name="connsiteY7" fmla="*/ 0 h 18288"/>
              <a:gd name="connsiteX8" fmla="*/ 4558650 w 10853928"/>
              <a:gd name="connsiteY8" fmla="*/ 0 h 18288"/>
              <a:gd name="connsiteX9" fmla="*/ 5237020 w 10853928"/>
              <a:gd name="connsiteY9" fmla="*/ 0 h 18288"/>
              <a:gd name="connsiteX10" fmla="*/ 6132469 w 10853928"/>
              <a:gd name="connsiteY10" fmla="*/ 0 h 18288"/>
              <a:gd name="connsiteX11" fmla="*/ 6702301 w 10853928"/>
              <a:gd name="connsiteY11" fmla="*/ 0 h 18288"/>
              <a:gd name="connsiteX12" fmla="*/ 7272132 w 10853928"/>
              <a:gd name="connsiteY12" fmla="*/ 0 h 18288"/>
              <a:gd name="connsiteX13" fmla="*/ 7950502 w 10853928"/>
              <a:gd name="connsiteY13" fmla="*/ 0 h 18288"/>
              <a:gd name="connsiteX14" fmla="*/ 8737412 w 10853928"/>
              <a:gd name="connsiteY14" fmla="*/ 0 h 18288"/>
              <a:gd name="connsiteX15" fmla="*/ 9524322 w 10853928"/>
              <a:gd name="connsiteY15" fmla="*/ 0 h 18288"/>
              <a:gd name="connsiteX16" fmla="*/ 10853928 w 10853928"/>
              <a:gd name="connsiteY16" fmla="*/ 0 h 18288"/>
              <a:gd name="connsiteX17" fmla="*/ 10853928 w 10853928"/>
              <a:gd name="connsiteY17" fmla="*/ 18288 h 18288"/>
              <a:gd name="connsiteX18" fmla="*/ 10392636 w 10853928"/>
              <a:gd name="connsiteY18" fmla="*/ 18288 h 18288"/>
              <a:gd name="connsiteX19" fmla="*/ 9497187 w 10853928"/>
              <a:gd name="connsiteY19" fmla="*/ 18288 h 18288"/>
              <a:gd name="connsiteX20" fmla="*/ 8818817 w 10853928"/>
              <a:gd name="connsiteY20" fmla="*/ 18288 h 18288"/>
              <a:gd name="connsiteX21" fmla="*/ 8466064 w 10853928"/>
              <a:gd name="connsiteY21" fmla="*/ 18288 h 18288"/>
              <a:gd name="connsiteX22" fmla="*/ 7787693 w 10853928"/>
              <a:gd name="connsiteY22" fmla="*/ 18288 h 18288"/>
              <a:gd name="connsiteX23" fmla="*/ 7217862 w 10853928"/>
              <a:gd name="connsiteY23" fmla="*/ 18288 h 18288"/>
              <a:gd name="connsiteX24" fmla="*/ 6648031 w 10853928"/>
              <a:gd name="connsiteY24" fmla="*/ 18288 h 18288"/>
              <a:gd name="connsiteX25" fmla="*/ 6078200 w 10853928"/>
              <a:gd name="connsiteY25" fmla="*/ 18288 h 18288"/>
              <a:gd name="connsiteX26" fmla="*/ 5508368 w 10853928"/>
              <a:gd name="connsiteY26" fmla="*/ 18288 h 18288"/>
              <a:gd name="connsiteX27" fmla="*/ 4721459 w 10853928"/>
              <a:gd name="connsiteY27" fmla="*/ 18288 h 18288"/>
              <a:gd name="connsiteX28" fmla="*/ 4043088 w 10853928"/>
              <a:gd name="connsiteY28" fmla="*/ 18288 h 18288"/>
              <a:gd name="connsiteX29" fmla="*/ 3690336 w 10853928"/>
              <a:gd name="connsiteY29" fmla="*/ 18288 h 18288"/>
              <a:gd name="connsiteX30" fmla="*/ 3120504 w 10853928"/>
              <a:gd name="connsiteY30" fmla="*/ 18288 h 18288"/>
              <a:gd name="connsiteX31" fmla="*/ 2333595 w 10853928"/>
              <a:gd name="connsiteY31" fmla="*/ 18288 h 18288"/>
              <a:gd name="connsiteX32" fmla="*/ 1872303 w 10853928"/>
              <a:gd name="connsiteY32" fmla="*/ 18288 h 18288"/>
              <a:gd name="connsiteX33" fmla="*/ 976854 w 10853928"/>
              <a:gd name="connsiteY33" fmla="*/ 18288 h 18288"/>
              <a:gd name="connsiteX34" fmla="*/ 0 w 10853928"/>
              <a:gd name="connsiteY34" fmla="*/ 18288 h 18288"/>
              <a:gd name="connsiteX35" fmla="*/ 0 w 10853928"/>
              <a:gd name="connsiteY35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853928" h="18288" fill="none" extrusionOk="0">
                <a:moveTo>
                  <a:pt x="0" y="0"/>
                </a:moveTo>
                <a:cubicBezTo>
                  <a:pt x="146993" y="-19076"/>
                  <a:pt x="347684" y="-4790"/>
                  <a:pt x="461292" y="0"/>
                </a:cubicBezTo>
                <a:cubicBezTo>
                  <a:pt x="574900" y="4790"/>
                  <a:pt x="808367" y="19821"/>
                  <a:pt x="1139662" y="0"/>
                </a:cubicBezTo>
                <a:cubicBezTo>
                  <a:pt x="1470957" y="-19821"/>
                  <a:pt x="1627405" y="5721"/>
                  <a:pt x="1926572" y="0"/>
                </a:cubicBezTo>
                <a:cubicBezTo>
                  <a:pt x="2225739" y="-5721"/>
                  <a:pt x="2137730" y="-3235"/>
                  <a:pt x="2279325" y="0"/>
                </a:cubicBezTo>
                <a:cubicBezTo>
                  <a:pt x="2420920" y="3235"/>
                  <a:pt x="2456518" y="9685"/>
                  <a:pt x="2632078" y="0"/>
                </a:cubicBezTo>
                <a:cubicBezTo>
                  <a:pt x="2807638" y="-9685"/>
                  <a:pt x="3211516" y="-43007"/>
                  <a:pt x="3527527" y="0"/>
                </a:cubicBezTo>
                <a:cubicBezTo>
                  <a:pt x="3843538" y="43007"/>
                  <a:pt x="4058833" y="22042"/>
                  <a:pt x="4205897" y="0"/>
                </a:cubicBezTo>
                <a:cubicBezTo>
                  <a:pt x="4352961" y="-22042"/>
                  <a:pt x="4474805" y="-11846"/>
                  <a:pt x="4558650" y="0"/>
                </a:cubicBezTo>
                <a:cubicBezTo>
                  <a:pt x="4642495" y="11846"/>
                  <a:pt x="5041928" y="-6069"/>
                  <a:pt x="5237020" y="0"/>
                </a:cubicBezTo>
                <a:cubicBezTo>
                  <a:pt x="5432112" y="6069"/>
                  <a:pt x="5943266" y="-17479"/>
                  <a:pt x="6132469" y="0"/>
                </a:cubicBezTo>
                <a:cubicBezTo>
                  <a:pt x="6321672" y="17479"/>
                  <a:pt x="6483872" y="26234"/>
                  <a:pt x="6702301" y="0"/>
                </a:cubicBezTo>
                <a:cubicBezTo>
                  <a:pt x="6920730" y="-26234"/>
                  <a:pt x="6991194" y="-15156"/>
                  <a:pt x="7272132" y="0"/>
                </a:cubicBezTo>
                <a:cubicBezTo>
                  <a:pt x="7553070" y="15156"/>
                  <a:pt x="7684444" y="-32961"/>
                  <a:pt x="7950502" y="0"/>
                </a:cubicBezTo>
                <a:cubicBezTo>
                  <a:pt x="8216560" y="32961"/>
                  <a:pt x="8493290" y="-10491"/>
                  <a:pt x="8737412" y="0"/>
                </a:cubicBezTo>
                <a:cubicBezTo>
                  <a:pt x="8981534" y="10491"/>
                  <a:pt x="9191586" y="-13899"/>
                  <a:pt x="9524322" y="0"/>
                </a:cubicBezTo>
                <a:cubicBezTo>
                  <a:pt x="9857058" y="13899"/>
                  <a:pt x="10297509" y="7485"/>
                  <a:pt x="10853928" y="0"/>
                </a:cubicBezTo>
                <a:cubicBezTo>
                  <a:pt x="10854574" y="4451"/>
                  <a:pt x="10854418" y="9226"/>
                  <a:pt x="10853928" y="18288"/>
                </a:cubicBezTo>
                <a:cubicBezTo>
                  <a:pt x="10691638" y="28522"/>
                  <a:pt x="10574319" y="29578"/>
                  <a:pt x="10392636" y="18288"/>
                </a:cubicBezTo>
                <a:cubicBezTo>
                  <a:pt x="10210953" y="6998"/>
                  <a:pt x="9836277" y="-16742"/>
                  <a:pt x="9497187" y="18288"/>
                </a:cubicBezTo>
                <a:cubicBezTo>
                  <a:pt x="9158097" y="53318"/>
                  <a:pt x="9119479" y="30714"/>
                  <a:pt x="8818817" y="18288"/>
                </a:cubicBezTo>
                <a:cubicBezTo>
                  <a:pt x="8518155" y="5863"/>
                  <a:pt x="8640037" y="6483"/>
                  <a:pt x="8466064" y="18288"/>
                </a:cubicBezTo>
                <a:cubicBezTo>
                  <a:pt x="8292091" y="30093"/>
                  <a:pt x="7997656" y="18914"/>
                  <a:pt x="7787693" y="18288"/>
                </a:cubicBezTo>
                <a:cubicBezTo>
                  <a:pt x="7577730" y="17662"/>
                  <a:pt x="7412468" y="21416"/>
                  <a:pt x="7217862" y="18288"/>
                </a:cubicBezTo>
                <a:cubicBezTo>
                  <a:pt x="7023256" y="15160"/>
                  <a:pt x="6898018" y="14824"/>
                  <a:pt x="6648031" y="18288"/>
                </a:cubicBezTo>
                <a:cubicBezTo>
                  <a:pt x="6398044" y="21752"/>
                  <a:pt x="6254402" y="38625"/>
                  <a:pt x="6078200" y="18288"/>
                </a:cubicBezTo>
                <a:cubicBezTo>
                  <a:pt x="5901998" y="-2049"/>
                  <a:pt x="5622886" y="3213"/>
                  <a:pt x="5508368" y="18288"/>
                </a:cubicBezTo>
                <a:cubicBezTo>
                  <a:pt x="5393850" y="33363"/>
                  <a:pt x="5036260" y="26830"/>
                  <a:pt x="4721459" y="18288"/>
                </a:cubicBezTo>
                <a:cubicBezTo>
                  <a:pt x="4406658" y="9746"/>
                  <a:pt x="4239221" y="41551"/>
                  <a:pt x="4043088" y="18288"/>
                </a:cubicBezTo>
                <a:cubicBezTo>
                  <a:pt x="3846955" y="-4975"/>
                  <a:pt x="3818802" y="34658"/>
                  <a:pt x="3690336" y="18288"/>
                </a:cubicBezTo>
                <a:cubicBezTo>
                  <a:pt x="3561870" y="1918"/>
                  <a:pt x="3265491" y="42194"/>
                  <a:pt x="3120504" y="18288"/>
                </a:cubicBezTo>
                <a:cubicBezTo>
                  <a:pt x="2975517" y="-5618"/>
                  <a:pt x="2720254" y="36673"/>
                  <a:pt x="2333595" y="18288"/>
                </a:cubicBezTo>
                <a:cubicBezTo>
                  <a:pt x="1946936" y="-97"/>
                  <a:pt x="2097241" y="5776"/>
                  <a:pt x="1872303" y="18288"/>
                </a:cubicBezTo>
                <a:cubicBezTo>
                  <a:pt x="1647365" y="30800"/>
                  <a:pt x="1282708" y="45380"/>
                  <a:pt x="976854" y="18288"/>
                </a:cubicBezTo>
                <a:cubicBezTo>
                  <a:pt x="671000" y="-8804"/>
                  <a:pt x="408401" y="-12775"/>
                  <a:pt x="0" y="18288"/>
                </a:cubicBezTo>
                <a:cubicBezTo>
                  <a:pt x="-213" y="9468"/>
                  <a:pt x="187" y="4459"/>
                  <a:pt x="0" y="0"/>
                </a:cubicBezTo>
                <a:close/>
              </a:path>
              <a:path w="10853928" h="18288" stroke="0" extrusionOk="0">
                <a:moveTo>
                  <a:pt x="0" y="0"/>
                </a:moveTo>
                <a:cubicBezTo>
                  <a:pt x="267322" y="15284"/>
                  <a:pt x="415388" y="-21048"/>
                  <a:pt x="569831" y="0"/>
                </a:cubicBezTo>
                <a:cubicBezTo>
                  <a:pt x="724274" y="21048"/>
                  <a:pt x="769333" y="-2353"/>
                  <a:pt x="922584" y="0"/>
                </a:cubicBezTo>
                <a:cubicBezTo>
                  <a:pt x="1075835" y="2353"/>
                  <a:pt x="1399490" y="-145"/>
                  <a:pt x="1818033" y="0"/>
                </a:cubicBezTo>
                <a:cubicBezTo>
                  <a:pt x="2236576" y="145"/>
                  <a:pt x="2145330" y="5482"/>
                  <a:pt x="2387864" y="0"/>
                </a:cubicBezTo>
                <a:cubicBezTo>
                  <a:pt x="2630398" y="-5482"/>
                  <a:pt x="2793207" y="18487"/>
                  <a:pt x="2957695" y="0"/>
                </a:cubicBezTo>
                <a:cubicBezTo>
                  <a:pt x="3122183" y="-18487"/>
                  <a:pt x="3579141" y="19003"/>
                  <a:pt x="3853144" y="0"/>
                </a:cubicBezTo>
                <a:cubicBezTo>
                  <a:pt x="4127147" y="-19003"/>
                  <a:pt x="4209857" y="12211"/>
                  <a:pt x="4314436" y="0"/>
                </a:cubicBezTo>
                <a:cubicBezTo>
                  <a:pt x="4419015" y="-12211"/>
                  <a:pt x="4762459" y="-17220"/>
                  <a:pt x="5209885" y="0"/>
                </a:cubicBezTo>
                <a:cubicBezTo>
                  <a:pt x="5657311" y="17220"/>
                  <a:pt x="5692663" y="-3290"/>
                  <a:pt x="6105335" y="0"/>
                </a:cubicBezTo>
                <a:cubicBezTo>
                  <a:pt x="6518007" y="3290"/>
                  <a:pt x="6455516" y="-5124"/>
                  <a:pt x="6783705" y="0"/>
                </a:cubicBezTo>
                <a:cubicBezTo>
                  <a:pt x="7111894" y="5124"/>
                  <a:pt x="7441941" y="-17829"/>
                  <a:pt x="7679154" y="0"/>
                </a:cubicBezTo>
                <a:cubicBezTo>
                  <a:pt x="7916367" y="17829"/>
                  <a:pt x="8102967" y="-24363"/>
                  <a:pt x="8248985" y="0"/>
                </a:cubicBezTo>
                <a:cubicBezTo>
                  <a:pt x="8395003" y="24363"/>
                  <a:pt x="8552393" y="25505"/>
                  <a:pt x="8818817" y="0"/>
                </a:cubicBezTo>
                <a:cubicBezTo>
                  <a:pt x="9085241" y="-25505"/>
                  <a:pt x="9411308" y="38000"/>
                  <a:pt x="9605726" y="0"/>
                </a:cubicBezTo>
                <a:cubicBezTo>
                  <a:pt x="9800144" y="-38000"/>
                  <a:pt x="10006468" y="-25741"/>
                  <a:pt x="10175558" y="0"/>
                </a:cubicBezTo>
                <a:cubicBezTo>
                  <a:pt x="10344648" y="25741"/>
                  <a:pt x="10696282" y="695"/>
                  <a:pt x="10853928" y="0"/>
                </a:cubicBezTo>
                <a:cubicBezTo>
                  <a:pt x="10853521" y="8690"/>
                  <a:pt x="10853774" y="14141"/>
                  <a:pt x="10853928" y="18288"/>
                </a:cubicBezTo>
                <a:cubicBezTo>
                  <a:pt x="10608124" y="24255"/>
                  <a:pt x="10343415" y="22307"/>
                  <a:pt x="10067018" y="18288"/>
                </a:cubicBezTo>
                <a:cubicBezTo>
                  <a:pt x="9790621" y="14270"/>
                  <a:pt x="9843266" y="3564"/>
                  <a:pt x="9714266" y="18288"/>
                </a:cubicBezTo>
                <a:cubicBezTo>
                  <a:pt x="9585266" y="33012"/>
                  <a:pt x="9379484" y="1875"/>
                  <a:pt x="9252974" y="18288"/>
                </a:cubicBezTo>
                <a:cubicBezTo>
                  <a:pt x="9126464" y="34701"/>
                  <a:pt x="8580678" y="-4904"/>
                  <a:pt x="8357525" y="18288"/>
                </a:cubicBezTo>
                <a:cubicBezTo>
                  <a:pt x="8134372" y="41480"/>
                  <a:pt x="7903199" y="26458"/>
                  <a:pt x="7679154" y="18288"/>
                </a:cubicBezTo>
                <a:cubicBezTo>
                  <a:pt x="7455109" y="10118"/>
                  <a:pt x="7435944" y="27109"/>
                  <a:pt x="7217862" y="18288"/>
                </a:cubicBezTo>
                <a:cubicBezTo>
                  <a:pt x="6999780" y="9467"/>
                  <a:pt x="6680409" y="18985"/>
                  <a:pt x="6539492" y="18288"/>
                </a:cubicBezTo>
                <a:cubicBezTo>
                  <a:pt x="6398575" y="17592"/>
                  <a:pt x="6312077" y="33018"/>
                  <a:pt x="6186739" y="18288"/>
                </a:cubicBezTo>
                <a:cubicBezTo>
                  <a:pt x="6061401" y="3558"/>
                  <a:pt x="5947033" y="12075"/>
                  <a:pt x="5833986" y="18288"/>
                </a:cubicBezTo>
                <a:cubicBezTo>
                  <a:pt x="5720939" y="24501"/>
                  <a:pt x="5482226" y="8586"/>
                  <a:pt x="5155616" y="18288"/>
                </a:cubicBezTo>
                <a:cubicBezTo>
                  <a:pt x="4829006" y="27991"/>
                  <a:pt x="4841274" y="29316"/>
                  <a:pt x="4694324" y="18288"/>
                </a:cubicBezTo>
                <a:cubicBezTo>
                  <a:pt x="4547374" y="7260"/>
                  <a:pt x="4077675" y="7013"/>
                  <a:pt x="3907414" y="18288"/>
                </a:cubicBezTo>
                <a:cubicBezTo>
                  <a:pt x="3737153" y="29564"/>
                  <a:pt x="3538393" y="21630"/>
                  <a:pt x="3446122" y="18288"/>
                </a:cubicBezTo>
                <a:cubicBezTo>
                  <a:pt x="3353851" y="14946"/>
                  <a:pt x="2990320" y="-8091"/>
                  <a:pt x="2659212" y="18288"/>
                </a:cubicBezTo>
                <a:cubicBezTo>
                  <a:pt x="2328104" y="44667"/>
                  <a:pt x="2427653" y="9607"/>
                  <a:pt x="2306460" y="18288"/>
                </a:cubicBezTo>
                <a:cubicBezTo>
                  <a:pt x="2185267" y="26969"/>
                  <a:pt x="1719763" y="3717"/>
                  <a:pt x="1519550" y="18288"/>
                </a:cubicBezTo>
                <a:cubicBezTo>
                  <a:pt x="1319337" y="32860"/>
                  <a:pt x="1167371" y="17040"/>
                  <a:pt x="1058258" y="18288"/>
                </a:cubicBezTo>
                <a:cubicBezTo>
                  <a:pt x="949145" y="19536"/>
                  <a:pt x="780234" y="31447"/>
                  <a:pt x="705505" y="18288"/>
                </a:cubicBezTo>
                <a:cubicBezTo>
                  <a:pt x="630776" y="5129"/>
                  <a:pt x="215796" y="30056"/>
                  <a:pt x="0" y="18288"/>
                </a:cubicBezTo>
                <a:cubicBezTo>
                  <a:pt x="-53" y="11301"/>
                  <a:pt x="-649" y="7756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841" y="1874786"/>
            <a:ext cx="11051959" cy="4688220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fr-FR" sz="1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5) 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’entreprise achète un véhicule de transport, au comptant par chèque : 125 000 €.</a:t>
            </a:r>
          </a:p>
          <a:p>
            <a:pPr marL="361950"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 Les comptes en jeu.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6) 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’entreprise verse le montant de la caisse sur son compte en banque : 5 000 €</a:t>
            </a:r>
          </a:p>
          <a:p>
            <a:pPr marL="361950"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 Les comptes en jeu.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7) 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’entreprise sort du liquide, de son compte en banque, et le met en caisse : 25 000 €</a:t>
            </a:r>
          </a:p>
          <a:p>
            <a:pPr marL="361950"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 Les comptes en jeu.</a:t>
            </a:r>
          </a:p>
          <a:p>
            <a:pPr algn="just"/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fr-FR" sz="18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8) 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’entreprise règle par chèque une dette envers un fournisseur à qui elle devait 15 000 €</a:t>
            </a:r>
          </a:p>
          <a:p>
            <a:pPr marL="361950"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 Les comptes en jeu.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9)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Un client règle, en liquide, 3 500 € qu'il nous devait.</a:t>
            </a:r>
          </a:p>
          <a:p>
            <a:pPr marL="361950"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 Les comptes en jeu.</a:t>
            </a:r>
          </a:p>
          <a:p>
            <a:pPr marL="0" indent="0" algn="just">
              <a:buNone/>
            </a:pPr>
            <a:endParaRPr lang="fr-FR" sz="1500" dirty="0"/>
          </a:p>
        </p:txBody>
      </p:sp>
    </p:spTree>
    <p:extLst>
      <p:ext uri="{BB962C8B-B14F-4D97-AF65-F5344CB8AC3E}">
        <p14:creationId xmlns:p14="http://schemas.microsoft.com/office/powerpoint/2010/main" val="142016361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100EDD19-6802-4EC3-95CE-CFFAB042C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613" y="365125"/>
            <a:ext cx="11702642" cy="1325563"/>
          </a:xfrm>
        </p:spPr>
        <p:txBody>
          <a:bodyPr>
            <a:normAutofit/>
          </a:bodyPr>
          <a:lstStyle/>
          <a:p>
            <a:r>
              <a:rPr lang="fr-FR" sz="5400" dirty="0"/>
              <a:t>Comptabilisation – Correction UP1 (suite)</a:t>
            </a:r>
          </a:p>
        </p:txBody>
      </p:sp>
      <p:sp>
        <p:nvSpPr>
          <p:cNvPr id="19" name="sketch line">
            <a:extLst>
              <a:ext uri="{FF2B5EF4-FFF2-40B4-BE49-F238E27FC236}">
                <a16:creationId xmlns:a16="http://schemas.microsoft.com/office/drawing/2014/main" id="{DB17E863-922E-4C26-BD64-E8FD41D286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9036" y="1677373"/>
            <a:ext cx="10853928" cy="18288"/>
          </a:xfrm>
          <a:custGeom>
            <a:avLst/>
            <a:gdLst>
              <a:gd name="connsiteX0" fmla="*/ 0 w 10853928"/>
              <a:gd name="connsiteY0" fmla="*/ 0 h 18288"/>
              <a:gd name="connsiteX1" fmla="*/ 461292 w 10853928"/>
              <a:gd name="connsiteY1" fmla="*/ 0 h 18288"/>
              <a:gd name="connsiteX2" fmla="*/ 1139662 w 10853928"/>
              <a:gd name="connsiteY2" fmla="*/ 0 h 18288"/>
              <a:gd name="connsiteX3" fmla="*/ 1926572 w 10853928"/>
              <a:gd name="connsiteY3" fmla="*/ 0 h 18288"/>
              <a:gd name="connsiteX4" fmla="*/ 2279325 w 10853928"/>
              <a:gd name="connsiteY4" fmla="*/ 0 h 18288"/>
              <a:gd name="connsiteX5" fmla="*/ 2632078 w 10853928"/>
              <a:gd name="connsiteY5" fmla="*/ 0 h 18288"/>
              <a:gd name="connsiteX6" fmla="*/ 3527527 w 10853928"/>
              <a:gd name="connsiteY6" fmla="*/ 0 h 18288"/>
              <a:gd name="connsiteX7" fmla="*/ 4205897 w 10853928"/>
              <a:gd name="connsiteY7" fmla="*/ 0 h 18288"/>
              <a:gd name="connsiteX8" fmla="*/ 4558650 w 10853928"/>
              <a:gd name="connsiteY8" fmla="*/ 0 h 18288"/>
              <a:gd name="connsiteX9" fmla="*/ 5237020 w 10853928"/>
              <a:gd name="connsiteY9" fmla="*/ 0 h 18288"/>
              <a:gd name="connsiteX10" fmla="*/ 6132469 w 10853928"/>
              <a:gd name="connsiteY10" fmla="*/ 0 h 18288"/>
              <a:gd name="connsiteX11" fmla="*/ 6702301 w 10853928"/>
              <a:gd name="connsiteY11" fmla="*/ 0 h 18288"/>
              <a:gd name="connsiteX12" fmla="*/ 7272132 w 10853928"/>
              <a:gd name="connsiteY12" fmla="*/ 0 h 18288"/>
              <a:gd name="connsiteX13" fmla="*/ 7950502 w 10853928"/>
              <a:gd name="connsiteY13" fmla="*/ 0 h 18288"/>
              <a:gd name="connsiteX14" fmla="*/ 8737412 w 10853928"/>
              <a:gd name="connsiteY14" fmla="*/ 0 h 18288"/>
              <a:gd name="connsiteX15" fmla="*/ 9524322 w 10853928"/>
              <a:gd name="connsiteY15" fmla="*/ 0 h 18288"/>
              <a:gd name="connsiteX16" fmla="*/ 10853928 w 10853928"/>
              <a:gd name="connsiteY16" fmla="*/ 0 h 18288"/>
              <a:gd name="connsiteX17" fmla="*/ 10853928 w 10853928"/>
              <a:gd name="connsiteY17" fmla="*/ 18288 h 18288"/>
              <a:gd name="connsiteX18" fmla="*/ 10392636 w 10853928"/>
              <a:gd name="connsiteY18" fmla="*/ 18288 h 18288"/>
              <a:gd name="connsiteX19" fmla="*/ 9497187 w 10853928"/>
              <a:gd name="connsiteY19" fmla="*/ 18288 h 18288"/>
              <a:gd name="connsiteX20" fmla="*/ 8818817 w 10853928"/>
              <a:gd name="connsiteY20" fmla="*/ 18288 h 18288"/>
              <a:gd name="connsiteX21" fmla="*/ 8466064 w 10853928"/>
              <a:gd name="connsiteY21" fmla="*/ 18288 h 18288"/>
              <a:gd name="connsiteX22" fmla="*/ 7787693 w 10853928"/>
              <a:gd name="connsiteY22" fmla="*/ 18288 h 18288"/>
              <a:gd name="connsiteX23" fmla="*/ 7217862 w 10853928"/>
              <a:gd name="connsiteY23" fmla="*/ 18288 h 18288"/>
              <a:gd name="connsiteX24" fmla="*/ 6648031 w 10853928"/>
              <a:gd name="connsiteY24" fmla="*/ 18288 h 18288"/>
              <a:gd name="connsiteX25" fmla="*/ 6078200 w 10853928"/>
              <a:gd name="connsiteY25" fmla="*/ 18288 h 18288"/>
              <a:gd name="connsiteX26" fmla="*/ 5508368 w 10853928"/>
              <a:gd name="connsiteY26" fmla="*/ 18288 h 18288"/>
              <a:gd name="connsiteX27" fmla="*/ 4721459 w 10853928"/>
              <a:gd name="connsiteY27" fmla="*/ 18288 h 18288"/>
              <a:gd name="connsiteX28" fmla="*/ 4043088 w 10853928"/>
              <a:gd name="connsiteY28" fmla="*/ 18288 h 18288"/>
              <a:gd name="connsiteX29" fmla="*/ 3690336 w 10853928"/>
              <a:gd name="connsiteY29" fmla="*/ 18288 h 18288"/>
              <a:gd name="connsiteX30" fmla="*/ 3120504 w 10853928"/>
              <a:gd name="connsiteY30" fmla="*/ 18288 h 18288"/>
              <a:gd name="connsiteX31" fmla="*/ 2333595 w 10853928"/>
              <a:gd name="connsiteY31" fmla="*/ 18288 h 18288"/>
              <a:gd name="connsiteX32" fmla="*/ 1872303 w 10853928"/>
              <a:gd name="connsiteY32" fmla="*/ 18288 h 18288"/>
              <a:gd name="connsiteX33" fmla="*/ 976854 w 10853928"/>
              <a:gd name="connsiteY33" fmla="*/ 18288 h 18288"/>
              <a:gd name="connsiteX34" fmla="*/ 0 w 10853928"/>
              <a:gd name="connsiteY34" fmla="*/ 18288 h 18288"/>
              <a:gd name="connsiteX35" fmla="*/ 0 w 10853928"/>
              <a:gd name="connsiteY35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853928" h="18288" fill="none" extrusionOk="0">
                <a:moveTo>
                  <a:pt x="0" y="0"/>
                </a:moveTo>
                <a:cubicBezTo>
                  <a:pt x="146993" y="-19076"/>
                  <a:pt x="347684" y="-4790"/>
                  <a:pt x="461292" y="0"/>
                </a:cubicBezTo>
                <a:cubicBezTo>
                  <a:pt x="574900" y="4790"/>
                  <a:pt x="808367" y="19821"/>
                  <a:pt x="1139662" y="0"/>
                </a:cubicBezTo>
                <a:cubicBezTo>
                  <a:pt x="1470957" y="-19821"/>
                  <a:pt x="1627405" y="5721"/>
                  <a:pt x="1926572" y="0"/>
                </a:cubicBezTo>
                <a:cubicBezTo>
                  <a:pt x="2225739" y="-5721"/>
                  <a:pt x="2137730" y="-3235"/>
                  <a:pt x="2279325" y="0"/>
                </a:cubicBezTo>
                <a:cubicBezTo>
                  <a:pt x="2420920" y="3235"/>
                  <a:pt x="2456518" y="9685"/>
                  <a:pt x="2632078" y="0"/>
                </a:cubicBezTo>
                <a:cubicBezTo>
                  <a:pt x="2807638" y="-9685"/>
                  <a:pt x="3211516" y="-43007"/>
                  <a:pt x="3527527" y="0"/>
                </a:cubicBezTo>
                <a:cubicBezTo>
                  <a:pt x="3843538" y="43007"/>
                  <a:pt x="4058833" y="22042"/>
                  <a:pt x="4205897" y="0"/>
                </a:cubicBezTo>
                <a:cubicBezTo>
                  <a:pt x="4352961" y="-22042"/>
                  <a:pt x="4474805" y="-11846"/>
                  <a:pt x="4558650" y="0"/>
                </a:cubicBezTo>
                <a:cubicBezTo>
                  <a:pt x="4642495" y="11846"/>
                  <a:pt x="5041928" y="-6069"/>
                  <a:pt x="5237020" y="0"/>
                </a:cubicBezTo>
                <a:cubicBezTo>
                  <a:pt x="5432112" y="6069"/>
                  <a:pt x="5943266" y="-17479"/>
                  <a:pt x="6132469" y="0"/>
                </a:cubicBezTo>
                <a:cubicBezTo>
                  <a:pt x="6321672" y="17479"/>
                  <a:pt x="6483872" y="26234"/>
                  <a:pt x="6702301" y="0"/>
                </a:cubicBezTo>
                <a:cubicBezTo>
                  <a:pt x="6920730" y="-26234"/>
                  <a:pt x="6991194" y="-15156"/>
                  <a:pt x="7272132" y="0"/>
                </a:cubicBezTo>
                <a:cubicBezTo>
                  <a:pt x="7553070" y="15156"/>
                  <a:pt x="7684444" y="-32961"/>
                  <a:pt x="7950502" y="0"/>
                </a:cubicBezTo>
                <a:cubicBezTo>
                  <a:pt x="8216560" y="32961"/>
                  <a:pt x="8493290" y="-10491"/>
                  <a:pt x="8737412" y="0"/>
                </a:cubicBezTo>
                <a:cubicBezTo>
                  <a:pt x="8981534" y="10491"/>
                  <a:pt x="9191586" y="-13899"/>
                  <a:pt x="9524322" y="0"/>
                </a:cubicBezTo>
                <a:cubicBezTo>
                  <a:pt x="9857058" y="13899"/>
                  <a:pt x="10297509" y="7485"/>
                  <a:pt x="10853928" y="0"/>
                </a:cubicBezTo>
                <a:cubicBezTo>
                  <a:pt x="10854574" y="4451"/>
                  <a:pt x="10854418" y="9226"/>
                  <a:pt x="10853928" y="18288"/>
                </a:cubicBezTo>
                <a:cubicBezTo>
                  <a:pt x="10691638" y="28522"/>
                  <a:pt x="10574319" y="29578"/>
                  <a:pt x="10392636" y="18288"/>
                </a:cubicBezTo>
                <a:cubicBezTo>
                  <a:pt x="10210953" y="6998"/>
                  <a:pt x="9836277" y="-16742"/>
                  <a:pt x="9497187" y="18288"/>
                </a:cubicBezTo>
                <a:cubicBezTo>
                  <a:pt x="9158097" y="53318"/>
                  <a:pt x="9119479" y="30714"/>
                  <a:pt x="8818817" y="18288"/>
                </a:cubicBezTo>
                <a:cubicBezTo>
                  <a:pt x="8518155" y="5863"/>
                  <a:pt x="8640037" y="6483"/>
                  <a:pt x="8466064" y="18288"/>
                </a:cubicBezTo>
                <a:cubicBezTo>
                  <a:pt x="8292091" y="30093"/>
                  <a:pt x="7997656" y="18914"/>
                  <a:pt x="7787693" y="18288"/>
                </a:cubicBezTo>
                <a:cubicBezTo>
                  <a:pt x="7577730" y="17662"/>
                  <a:pt x="7412468" y="21416"/>
                  <a:pt x="7217862" y="18288"/>
                </a:cubicBezTo>
                <a:cubicBezTo>
                  <a:pt x="7023256" y="15160"/>
                  <a:pt x="6898018" y="14824"/>
                  <a:pt x="6648031" y="18288"/>
                </a:cubicBezTo>
                <a:cubicBezTo>
                  <a:pt x="6398044" y="21752"/>
                  <a:pt x="6254402" y="38625"/>
                  <a:pt x="6078200" y="18288"/>
                </a:cubicBezTo>
                <a:cubicBezTo>
                  <a:pt x="5901998" y="-2049"/>
                  <a:pt x="5622886" y="3213"/>
                  <a:pt x="5508368" y="18288"/>
                </a:cubicBezTo>
                <a:cubicBezTo>
                  <a:pt x="5393850" y="33363"/>
                  <a:pt x="5036260" y="26830"/>
                  <a:pt x="4721459" y="18288"/>
                </a:cubicBezTo>
                <a:cubicBezTo>
                  <a:pt x="4406658" y="9746"/>
                  <a:pt x="4239221" y="41551"/>
                  <a:pt x="4043088" y="18288"/>
                </a:cubicBezTo>
                <a:cubicBezTo>
                  <a:pt x="3846955" y="-4975"/>
                  <a:pt x="3818802" y="34658"/>
                  <a:pt x="3690336" y="18288"/>
                </a:cubicBezTo>
                <a:cubicBezTo>
                  <a:pt x="3561870" y="1918"/>
                  <a:pt x="3265491" y="42194"/>
                  <a:pt x="3120504" y="18288"/>
                </a:cubicBezTo>
                <a:cubicBezTo>
                  <a:pt x="2975517" y="-5618"/>
                  <a:pt x="2720254" y="36673"/>
                  <a:pt x="2333595" y="18288"/>
                </a:cubicBezTo>
                <a:cubicBezTo>
                  <a:pt x="1946936" y="-97"/>
                  <a:pt x="2097241" y="5776"/>
                  <a:pt x="1872303" y="18288"/>
                </a:cubicBezTo>
                <a:cubicBezTo>
                  <a:pt x="1647365" y="30800"/>
                  <a:pt x="1282708" y="45380"/>
                  <a:pt x="976854" y="18288"/>
                </a:cubicBezTo>
                <a:cubicBezTo>
                  <a:pt x="671000" y="-8804"/>
                  <a:pt x="408401" y="-12775"/>
                  <a:pt x="0" y="18288"/>
                </a:cubicBezTo>
                <a:cubicBezTo>
                  <a:pt x="-213" y="9468"/>
                  <a:pt x="187" y="4459"/>
                  <a:pt x="0" y="0"/>
                </a:cubicBezTo>
                <a:close/>
              </a:path>
              <a:path w="10853928" h="18288" stroke="0" extrusionOk="0">
                <a:moveTo>
                  <a:pt x="0" y="0"/>
                </a:moveTo>
                <a:cubicBezTo>
                  <a:pt x="267322" y="15284"/>
                  <a:pt x="415388" y="-21048"/>
                  <a:pt x="569831" y="0"/>
                </a:cubicBezTo>
                <a:cubicBezTo>
                  <a:pt x="724274" y="21048"/>
                  <a:pt x="769333" y="-2353"/>
                  <a:pt x="922584" y="0"/>
                </a:cubicBezTo>
                <a:cubicBezTo>
                  <a:pt x="1075835" y="2353"/>
                  <a:pt x="1399490" y="-145"/>
                  <a:pt x="1818033" y="0"/>
                </a:cubicBezTo>
                <a:cubicBezTo>
                  <a:pt x="2236576" y="145"/>
                  <a:pt x="2145330" y="5482"/>
                  <a:pt x="2387864" y="0"/>
                </a:cubicBezTo>
                <a:cubicBezTo>
                  <a:pt x="2630398" y="-5482"/>
                  <a:pt x="2793207" y="18487"/>
                  <a:pt x="2957695" y="0"/>
                </a:cubicBezTo>
                <a:cubicBezTo>
                  <a:pt x="3122183" y="-18487"/>
                  <a:pt x="3579141" y="19003"/>
                  <a:pt x="3853144" y="0"/>
                </a:cubicBezTo>
                <a:cubicBezTo>
                  <a:pt x="4127147" y="-19003"/>
                  <a:pt x="4209857" y="12211"/>
                  <a:pt x="4314436" y="0"/>
                </a:cubicBezTo>
                <a:cubicBezTo>
                  <a:pt x="4419015" y="-12211"/>
                  <a:pt x="4762459" y="-17220"/>
                  <a:pt x="5209885" y="0"/>
                </a:cubicBezTo>
                <a:cubicBezTo>
                  <a:pt x="5657311" y="17220"/>
                  <a:pt x="5692663" y="-3290"/>
                  <a:pt x="6105335" y="0"/>
                </a:cubicBezTo>
                <a:cubicBezTo>
                  <a:pt x="6518007" y="3290"/>
                  <a:pt x="6455516" y="-5124"/>
                  <a:pt x="6783705" y="0"/>
                </a:cubicBezTo>
                <a:cubicBezTo>
                  <a:pt x="7111894" y="5124"/>
                  <a:pt x="7441941" y="-17829"/>
                  <a:pt x="7679154" y="0"/>
                </a:cubicBezTo>
                <a:cubicBezTo>
                  <a:pt x="7916367" y="17829"/>
                  <a:pt x="8102967" y="-24363"/>
                  <a:pt x="8248985" y="0"/>
                </a:cubicBezTo>
                <a:cubicBezTo>
                  <a:pt x="8395003" y="24363"/>
                  <a:pt x="8552393" y="25505"/>
                  <a:pt x="8818817" y="0"/>
                </a:cubicBezTo>
                <a:cubicBezTo>
                  <a:pt x="9085241" y="-25505"/>
                  <a:pt x="9411308" y="38000"/>
                  <a:pt x="9605726" y="0"/>
                </a:cubicBezTo>
                <a:cubicBezTo>
                  <a:pt x="9800144" y="-38000"/>
                  <a:pt x="10006468" y="-25741"/>
                  <a:pt x="10175558" y="0"/>
                </a:cubicBezTo>
                <a:cubicBezTo>
                  <a:pt x="10344648" y="25741"/>
                  <a:pt x="10696282" y="695"/>
                  <a:pt x="10853928" y="0"/>
                </a:cubicBezTo>
                <a:cubicBezTo>
                  <a:pt x="10853521" y="8690"/>
                  <a:pt x="10853774" y="14141"/>
                  <a:pt x="10853928" y="18288"/>
                </a:cubicBezTo>
                <a:cubicBezTo>
                  <a:pt x="10608124" y="24255"/>
                  <a:pt x="10343415" y="22307"/>
                  <a:pt x="10067018" y="18288"/>
                </a:cubicBezTo>
                <a:cubicBezTo>
                  <a:pt x="9790621" y="14270"/>
                  <a:pt x="9843266" y="3564"/>
                  <a:pt x="9714266" y="18288"/>
                </a:cubicBezTo>
                <a:cubicBezTo>
                  <a:pt x="9585266" y="33012"/>
                  <a:pt x="9379484" y="1875"/>
                  <a:pt x="9252974" y="18288"/>
                </a:cubicBezTo>
                <a:cubicBezTo>
                  <a:pt x="9126464" y="34701"/>
                  <a:pt x="8580678" y="-4904"/>
                  <a:pt x="8357525" y="18288"/>
                </a:cubicBezTo>
                <a:cubicBezTo>
                  <a:pt x="8134372" y="41480"/>
                  <a:pt x="7903199" y="26458"/>
                  <a:pt x="7679154" y="18288"/>
                </a:cubicBezTo>
                <a:cubicBezTo>
                  <a:pt x="7455109" y="10118"/>
                  <a:pt x="7435944" y="27109"/>
                  <a:pt x="7217862" y="18288"/>
                </a:cubicBezTo>
                <a:cubicBezTo>
                  <a:pt x="6999780" y="9467"/>
                  <a:pt x="6680409" y="18985"/>
                  <a:pt x="6539492" y="18288"/>
                </a:cubicBezTo>
                <a:cubicBezTo>
                  <a:pt x="6398575" y="17592"/>
                  <a:pt x="6312077" y="33018"/>
                  <a:pt x="6186739" y="18288"/>
                </a:cubicBezTo>
                <a:cubicBezTo>
                  <a:pt x="6061401" y="3558"/>
                  <a:pt x="5947033" y="12075"/>
                  <a:pt x="5833986" y="18288"/>
                </a:cubicBezTo>
                <a:cubicBezTo>
                  <a:pt x="5720939" y="24501"/>
                  <a:pt x="5482226" y="8586"/>
                  <a:pt x="5155616" y="18288"/>
                </a:cubicBezTo>
                <a:cubicBezTo>
                  <a:pt x="4829006" y="27991"/>
                  <a:pt x="4841274" y="29316"/>
                  <a:pt x="4694324" y="18288"/>
                </a:cubicBezTo>
                <a:cubicBezTo>
                  <a:pt x="4547374" y="7260"/>
                  <a:pt x="4077675" y="7013"/>
                  <a:pt x="3907414" y="18288"/>
                </a:cubicBezTo>
                <a:cubicBezTo>
                  <a:pt x="3737153" y="29564"/>
                  <a:pt x="3538393" y="21630"/>
                  <a:pt x="3446122" y="18288"/>
                </a:cubicBezTo>
                <a:cubicBezTo>
                  <a:pt x="3353851" y="14946"/>
                  <a:pt x="2990320" y="-8091"/>
                  <a:pt x="2659212" y="18288"/>
                </a:cubicBezTo>
                <a:cubicBezTo>
                  <a:pt x="2328104" y="44667"/>
                  <a:pt x="2427653" y="9607"/>
                  <a:pt x="2306460" y="18288"/>
                </a:cubicBezTo>
                <a:cubicBezTo>
                  <a:pt x="2185267" y="26969"/>
                  <a:pt x="1719763" y="3717"/>
                  <a:pt x="1519550" y="18288"/>
                </a:cubicBezTo>
                <a:cubicBezTo>
                  <a:pt x="1319337" y="32860"/>
                  <a:pt x="1167371" y="17040"/>
                  <a:pt x="1058258" y="18288"/>
                </a:cubicBezTo>
                <a:cubicBezTo>
                  <a:pt x="949145" y="19536"/>
                  <a:pt x="780234" y="31447"/>
                  <a:pt x="705505" y="18288"/>
                </a:cubicBezTo>
                <a:cubicBezTo>
                  <a:pt x="630776" y="5129"/>
                  <a:pt x="215796" y="30056"/>
                  <a:pt x="0" y="18288"/>
                </a:cubicBezTo>
                <a:cubicBezTo>
                  <a:pt x="-53" y="11301"/>
                  <a:pt x="-649" y="7756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021" y="1690689"/>
            <a:ext cx="11904956" cy="5002010"/>
          </a:xfrm>
        </p:spPr>
        <p:txBody>
          <a:bodyPr>
            <a:normAutofit fontScale="32500" lnSpcReduction="20000"/>
          </a:bodyPr>
          <a:lstStyle/>
          <a:p>
            <a:pPr marL="0" indent="0">
              <a:buNone/>
            </a:pPr>
            <a:r>
              <a:rPr lang="fr-FR" sz="1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55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5) </a:t>
            </a:r>
            <a:r>
              <a:rPr lang="fr-FR" sz="5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’entreprise achète un véhicule de transport, au comptant par chèque : 125 000 €.</a:t>
            </a:r>
          </a:p>
          <a:p>
            <a:pPr marL="723900" algn="just"/>
            <a:r>
              <a:rPr lang="fr-FR" sz="5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 2182 Matériel de transport / =&gt; 512 Banque</a:t>
            </a:r>
          </a:p>
          <a:p>
            <a:pPr algn="just"/>
            <a:r>
              <a:rPr lang="fr-FR" sz="5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55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6) </a:t>
            </a:r>
            <a:r>
              <a:rPr lang="fr-FR" sz="5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’entreprise verse le montant de la caisse sur son compte en banque : 5 000 €</a:t>
            </a:r>
          </a:p>
          <a:p>
            <a:pPr marL="723900" algn="just"/>
            <a:r>
              <a:rPr lang="fr-FR" sz="5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 53 Caisse / =&gt; 512 Banque</a:t>
            </a:r>
          </a:p>
          <a:p>
            <a:pPr algn="just"/>
            <a:r>
              <a:rPr lang="fr-FR" sz="5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55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7) </a:t>
            </a:r>
            <a:r>
              <a:rPr lang="fr-FR" sz="5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’entreprise sort du liquide, de son compte en banque, et le met en caisse : 25 000 €</a:t>
            </a:r>
          </a:p>
          <a:p>
            <a:pPr algn="just"/>
            <a:r>
              <a:rPr lang="fr-FR" sz="5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 53 Caisse / =&gt; 512 Banque</a:t>
            </a:r>
          </a:p>
          <a:p>
            <a:pPr algn="just"/>
            <a:r>
              <a:rPr lang="fr-FR" sz="55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fr-FR" sz="55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sz="55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8) </a:t>
            </a:r>
            <a:r>
              <a:rPr lang="fr-FR" sz="5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’entreprise règle par chèque une dette envers un fournisseur à qui elle devait 15 000 €</a:t>
            </a:r>
          </a:p>
          <a:p>
            <a:pPr marL="723900" algn="just"/>
            <a:r>
              <a:rPr lang="fr-FR" sz="5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 512 Banque  / =&gt; 401 Fournisseur</a:t>
            </a:r>
          </a:p>
          <a:p>
            <a:pPr algn="just"/>
            <a:r>
              <a:rPr lang="fr-FR" sz="5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55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9)</a:t>
            </a:r>
            <a:r>
              <a:rPr lang="fr-FR" sz="5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Un client règle, en liquide, 3 500 € qu'il nous devait.</a:t>
            </a:r>
          </a:p>
          <a:p>
            <a:pPr marL="723900" algn="just"/>
            <a:r>
              <a:rPr lang="fr-FR" sz="5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&gt; 53 Caisse / =&gt; 411 Clients</a:t>
            </a:r>
          </a:p>
          <a:p>
            <a:pPr algn="just"/>
            <a:r>
              <a:rPr lang="fr-FR" sz="5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endParaRPr lang="fr-FR" sz="1500" dirty="0"/>
          </a:p>
        </p:txBody>
      </p:sp>
    </p:spTree>
    <p:extLst>
      <p:ext uri="{BB962C8B-B14F-4D97-AF65-F5344CB8AC3E}">
        <p14:creationId xmlns:p14="http://schemas.microsoft.com/office/powerpoint/2010/main" val="212019408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3363" y="365760"/>
            <a:ext cx="9367203" cy="1188720"/>
          </a:xfrm>
        </p:spPr>
        <p:txBody>
          <a:bodyPr>
            <a:normAutofit/>
          </a:bodyPr>
          <a:lstStyle/>
          <a:p>
            <a:r>
              <a:rPr lang="fr-FR" dirty="0"/>
              <a:t>Comptabilisation – oui mais comment ?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CB4857B-ED7C-444D-9F04-2F885114A1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764099" cy="1558212"/>
          </a:xfrm>
          <a:custGeom>
            <a:avLst/>
            <a:gdLst>
              <a:gd name="connsiteX0" fmla="*/ 0 w 1764099"/>
              <a:gd name="connsiteY0" fmla="*/ 0 h 1558212"/>
              <a:gd name="connsiteX1" fmla="*/ 1764099 w 1764099"/>
              <a:gd name="connsiteY1" fmla="*/ 0 h 1558212"/>
              <a:gd name="connsiteX2" fmla="*/ 1042087 w 1764099"/>
              <a:gd name="connsiteY2" fmla="*/ 1558212 h 1558212"/>
              <a:gd name="connsiteX3" fmla="*/ 0 w 1764099"/>
              <a:gd name="connsiteY3" fmla="*/ 1558212 h 1558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64099" h="1558212">
                <a:moveTo>
                  <a:pt x="0" y="0"/>
                </a:moveTo>
                <a:lnTo>
                  <a:pt x="1764099" y="0"/>
                </a:lnTo>
                <a:lnTo>
                  <a:pt x="1042087" y="1558212"/>
                </a:lnTo>
                <a:lnTo>
                  <a:pt x="0" y="155821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18046FB-44EA-4FD8-A585-EA09A319B2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1691640"/>
            <a:ext cx="12191999" cy="5166360"/>
          </a:xfrm>
          <a:custGeom>
            <a:avLst/>
            <a:gdLst>
              <a:gd name="connsiteX0" fmla="*/ 0 w 12191999"/>
              <a:gd name="connsiteY0" fmla="*/ 0 h 5166360"/>
              <a:gd name="connsiteX1" fmla="*/ 1822388 w 12191999"/>
              <a:gd name="connsiteY1" fmla="*/ 0 h 5166360"/>
              <a:gd name="connsiteX2" fmla="*/ 6468290 w 12191999"/>
              <a:gd name="connsiteY2" fmla="*/ 0 h 5166360"/>
              <a:gd name="connsiteX3" fmla="*/ 7796394 w 12191999"/>
              <a:gd name="connsiteY3" fmla="*/ 0 h 5166360"/>
              <a:gd name="connsiteX4" fmla="*/ 8376834 w 12191999"/>
              <a:gd name="connsiteY4" fmla="*/ 0 h 5166360"/>
              <a:gd name="connsiteX5" fmla="*/ 9704938 w 12191999"/>
              <a:gd name="connsiteY5" fmla="*/ 0 h 5166360"/>
              <a:gd name="connsiteX6" fmla="*/ 9704938 w 12191999"/>
              <a:gd name="connsiteY6" fmla="*/ 2 h 5166360"/>
              <a:gd name="connsiteX7" fmla="*/ 10283456 w 12191999"/>
              <a:gd name="connsiteY7" fmla="*/ 2 h 5166360"/>
              <a:gd name="connsiteX8" fmla="*/ 10863897 w 12191999"/>
              <a:gd name="connsiteY8" fmla="*/ 2 h 5166360"/>
              <a:gd name="connsiteX9" fmla="*/ 12191999 w 12191999"/>
              <a:gd name="connsiteY9" fmla="*/ 2 h 5166360"/>
              <a:gd name="connsiteX10" fmla="*/ 12191999 w 12191999"/>
              <a:gd name="connsiteY10" fmla="*/ 5166360 h 5166360"/>
              <a:gd name="connsiteX11" fmla="*/ 0 w 12191999"/>
              <a:gd name="connsiteY11" fmla="*/ 5166360 h 5166360"/>
              <a:gd name="connsiteX12" fmla="*/ 0 w 12191999"/>
              <a:gd name="connsiteY12" fmla="*/ 2604436 h 5166360"/>
              <a:gd name="connsiteX13" fmla="*/ 862341 w 12191999"/>
              <a:gd name="connsiteY13" fmla="*/ 743371 h 5166360"/>
              <a:gd name="connsiteX14" fmla="*/ 0 w 12191999"/>
              <a:gd name="connsiteY14" fmla="*/ 743371 h 5166360"/>
              <a:gd name="connsiteX15" fmla="*/ 0 w 12191999"/>
              <a:gd name="connsiteY15" fmla="*/ 742508 h 5166360"/>
              <a:gd name="connsiteX16" fmla="*/ 92826 w 12191999"/>
              <a:gd name="connsiteY16" fmla="*/ 742508 h 5166360"/>
              <a:gd name="connsiteX17" fmla="*/ 406486 w 12191999"/>
              <a:gd name="connsiteY17" fmla="*/ 742508 h 5166360"/>
              <a:gd name="connsiteX18" fmla="*/ 406486 w 12191999"/>
              <a:gd name="connsiteY18" fmla="*/ 742507 h 5166360"/>
              <a:gd name="connsiteX19" fmla="*/ 862741 w 12191999"/>
              <a:gd name="connsiteY19" fmla="*/ 742507 h 5166360"/>
              <a:gd name="connsiteX20" fmla="*/ 1206388 w 12191999"/>
              <a:gd name="connsiteY20" fmla="*/ 864 h 5166360"/>
              <a:gd name="connsiteX21" fmla="*/ 748500 w 12191999"/>
              <a:gd name="connsiteY21" fmla="*/ 864 h 5166360"/>
              <a:gd name="connsiteX22" fmla="*/ 0 w 12191999"/>
              <a:gd name="connsiteY22" fmla="*/ 864 h 5166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1999" h="5166360">
                <a:moveTo>
                  <a:pt x="0" y="0"/>
                </a:moveTo>
                <a:lnTo>
                  <a:pt x="1822388" y="0"/>
                </a:lnTo>
                <a:lnTo>
                  <a:pt x="6468290" y="0"/>
                </a:lnTo>
                <a:lnTo>
                  <a:pt x="7796394" y="0"/>
                </a:lnTo>
                <a:lnTo>
                  <a:pt x="8376834" y="0"/>
                </a:lnTo>
                <a:lnTo>
                  <a:pt x="9704938" y="0"/>
                </a:lnTo>
                <a:lnTo>
                  <a:pt x="9704938" y="2"/>
                </a:lnTo>
                <a:lnTo>
                  <a:pt x="10283456" y="2"/>
                </a:lnTo>
                <a:lnTo>
                  <a:pt x="10863897" y="2"/>
                </a:lnTo>
                <a:lnTo>
                  <a:pt x="12191999" y="2"/>
                </a:lnTo>
                <a:lnTo>
                  <a:pt x="12191999" y="5166360"/>
                </a:lnTo>
                <a:lnTo>
                  <a:pt x="0" y="5166360"/>
                </a:lnTo>
                <a:lnTo>
                  <a:pt x="0" y="2604436"/>
                </a:lnTo>
                <a:lnTo>
                  <a:pt x="862341" y="743371"/>
                </a:lnTo>
                <a:lnTo>
                  <a:pt x="0" y="743371"/>
                </a:lnTo>
                <a:lnTo>
                  <a:pt x="0" y="742508"/>
                </a:lnTo>
                <a:lnTo>
                  <a:pt x="92826" y="742508"/>
                </a:lnTo>
                <a:lnTo>
                  <a:pt x="406486" y="742508"/>
                </a:lnTo>
                <a:lnTo>
                  <a:pt x="406486" y="742507"/>
                </a:lnTo>
                <a:lnTo>
                  <a:pt x="862741" y="742507"/>
                </a:lnTo>
                <a:lnTo>
                  <a:pt x="1206388" y="864"/>
                </a:lnTo>
                <a:lnTo>
                  <a:pt x="748500" y="864"/>
                </a:lnTo>
                <a:lnTo>
                  <a:pt x="0" y="864"/>
                </a:lnTo>
                <a:close/>
              </a:path>
            </a:pathLst>
          </a:custGeom>
          <a:solidFill>
            <a:srgbClr val="A6A6A6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79F5F2B-8B58-4140-AE6A-51F6C67B18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691641"/>
            <a:ext cx="971654" cy="2096979"/>
          </a:xfrm>
          <a:custGeom>
            <a:avLst/>
            <a:gdLst>
              <a:gd name="connsiteX0" fmla="*/ 0 w 971654"/>
              <a:gd name="connsiteY0" fmla="*/ 0 h 2096979"/>
              <a:gd name="connsiteX1" fmla="*/ 971654 w 971654"/>
              <a:gd name="connsiteY1" fmla="*/ 0 h 2096979"/>
              <a:gd name="connsiteX2" fmla="*/ 0 w 971654"/>
              <a:gd name="connsiteY2" fmla="*/ 2096979 h 2096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71654" h="2096979">
                <a:moveTo>
                  <a:pt x="0" y="0"/>
                </a:moveTo>
                <a:lnTo>
                  <a:pt x="971654" y="0"/>
                </a:lnTo>
                <a:lnTo>
                  <a:pt x="0" y="2096979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82757" y="1920240"/>
            <a:ext cx="10873408" cy="4868186"/>
          </a:xfrm>
        </p:spPr>
        <p:txBody>
          <a:bodyPr anchor="t">
            <a:normAutofit/>
          </a:bodyPr>
          <a:lstStyle/>
          <a:p>
            <a:pPr marL="0" indent="0">
              <a:buNone/>
            </a:pPr>
            <a:r>
              <a:rPr lang="fr-FR" sz="13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endParaRPr lang="fr-FR" sz="22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 plus simple est de considérer que chaque compte du plan comptable est un réceptacle (un tiroir) dans lequel le comptable va ajouter (ou retirer) un montant !</a:t>
            </a:r>
          </a:p>
          <a:p>
            <a:pPr marL="0" indent="0">
              <a:buNone/>
            </a:pPr>
            <a:endParaRPr lang="fr-FR" dirty="0"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n identifie aussi clairement les flux</a:t>
            </a:r>
          </a:p>
          <a:p>
            <a:pPr>
              <a:buFontTx/>
              <a:buChar char="-"/>
            </a:pPr>
            <a:r>
              <a:rPr lang="fr-FR" dirty="0"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lux économiques</a:t>
            </a:r>
          </a:p>
          <a:p>
            <a:pPr>
              <a:buFontTx/>
              <a:buChar char="-"/>
            </a:pPr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l</a:t>
            </a:r>
            <a:r>
              <a:rPr lang="fr-FR" dirty="0"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ux financiers</a:t>
            </a:r>
            <a:endParaRPr lang="fr-FR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fr-FR" sz="22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fr-FR" sz="1300" dirty="0"/>
          </a:p>
        </p:txBody>
      </p:sp>
    </p:spTree>
    <p:extLst>
      <p:ext uri="{BB962C8B-B14F-4D97-AF65-F5344CB8AC3E}">
        <p14:creationId xmlns:p14="http://schemas.microsoft.com/office/powerpoint/2010/main" val="355550651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3363" y="365760"/>
            <a:ext cx="9367203" cy="1188720"/>
          </a:xfrm>
        </p:spPr>
        <p:txBody>
          <a:bodyPr>
            <a:normAutofit/>
          </a:bodyPr>
          <a:lstStyle/>
          <a:p>
            <a:r>
              <a:rPr lang="fr-FR" dirty="0"/>
              <a:t>Comptabilisation – oui mais comment ?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CB4857B-ED7C-444D-9F04-2F885114A1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764099" cy="1558212"/>
          </a:xfrm>
          <a:custGeom>
            <a:avLst/>
            <a:gdLst>
              <a:gd name="connsiteX0" fmla="*/ 0 w 1764099"/>
              <a:gd name="connsiteY0" fmla="*/ 0 h 1558212"/>
              <a:gd name="connsiteX1" fmla="*/ 1764099 w 1764099"/>
              <a:gd name="connsiteY1" fmla="*/ 0 h 1558212"/>
              <a:gd name="connsiteX2" fmla="*/ 1042087 w 1764099"/>
              <a:gd name="connsiteY2" fmla="*/ 1558212 h 1558212"/>
              <a:gd name="connsiteX3" fmla="*/ 0 w 1764099"/>
              <a:gd name="connsiteY3" fmla="*/ 1558212 h 1558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64099" h="1558212">
                <a:moveTo>
                  <a:pt x="0" y="0"/>
                </a:moveTo>
                <a:lnTo>
                  <a:pt x="1764099" y="0"/>
                </a:lnTo>
                <a:lnTo>
                  <a:pt x="1042087" y="1558212"/>
                </a:lnTo>
                <a:lnTo>
                  <a:pt x="0" y="155821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18046FB-44EA-4FD8-A585-EA09A319B2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1691640"/>
            <a:ext cx="12191999" cy="5166360"/>
          </a:xfrm>
          <a:custGeom>
            <a:avLst/>
            <a:gdLst>
              <a:gd name="connsiteX0" fmla="*/ 0 w 12191999"/>
              <a:gd name="connsiteY0" fmla="*/ 0 h 5166360"/>
              <a:gd name="connsiteX1" fmla="*/ 1822388 w 12191999"/>
              <a:gd name="connsiteY1" fmla="*/ 0 h 5166360"/>
              <a:gd name="connsiteX2" fmla="*/ 6468290 w 12191999"/>
              <a:gd name="connsiteY2" fmla="*/ 0 h 5166360"/>
              <a:gd name="connsiteX3" fmla="*/ 7796394 w 12191999"/>
              <a:gd name="connsiteY3" fmla="*/ 0 h 5166360"/>
              <a:gd name="connsiteX4" fmla="*/ 8376834 w 12191999"/>
              <a:gd name="connsiteY4" fmla="*/ 0 h 5166360"/>
              <a:gd name="connsiteX5" fmla="*/ 9704938 w 12191999"/>
              <a:gd name="connsiteY5" fmla="*/ 0 h 5166360"/>
              <a:gd name="connsiteX6" fmla="*/ 9704938 w 12191999"/>
              <a:gd name="connsiteY6" fmla="*/ 2 h 5166360"/>
              <a:gd name="connsiteX7" fmla="*/ 10283456 w 12191999"/>
              <a:gd name="connsiteY7" fmla="*/ 2 h 5166360"/>
              <a:gd name="connsiteX8" fmla="*/ 10863897 w 12191999"/>
              <a:gd name="connsiteY8" fmla="*/ 2 h 5166360"/>
              <a:gd name="connsiteX9" fmla="*/ 12191999 w 12191999"/>
              <a:gd name="connsiteY9" fmla="*/ 2 h 5166360"/>
              <a:gd name="connsiteX10" fmla="*/ 12191999 w 12191999"/>
              <a:gd name="connsiteY10" fmla="*/ 5166360 h 5166360"/>
              <a:gd name="connsiteX11" fmla="*/ 0 w 12191999"/>
              <a:gd name="connsiteY11" fmla="*/ 5166360 h 5166360"/>
              <a:gd name="connsiteX12" fmla="*/ 0 w 12191999"/>
              <a:gd name="connsiteY12" fmla="*/ 2604436 h 5166360"/>
              <a:gd name="connsiteX13" fmla="*/ 862341 w 12191999"/>
              <a:gd name="connsiteY13" fmla="*/ 743371 h 5166360"/>
              <a:gd name="connsiteX14" fmla="*/ 0 w 12191999"/>
              <a:gd name="connsiteY14" fmla="*/ 743371 h 5166360"/>
              <a:gd name="connsiteX15" fmla="*/ 0 w 12191999"/>
              <a:gd name="connsiteY15" fmla="*/ 742508 h 5166360"/>
              <a:gd name="connsiteX16" fmla="*/ 92826 w 12191999"/>
              <a:gd name="connsiteY16" fmla="*/ 742508 h 5166360"/>
              <a:gd name="connsiteX17" fmla="*/ 406486 w 12191999"/>
              <a:gd name="connsiteY17" fmla="*/ 742508 h 5166360"/>
              <a:gd name="connsiteX18" fmla="*/ 406486 w 12191999"/>
              <a:gd name="connsiteY18" fmla="*/ 742507 h 5166360"/>
              <a:gd name="connsiteX19" fmla="*/ 862741 w 12191999"/>
              <a:gd name="connsiteY19" fmla="*/ 742507 h 5166360"/>
              <a:gd name="connsiteX20" fmla="*/ 1206388 w 12191999"/>
              <a:gd name="connsiteY20" fmla="*/ 864 h 5166360"/>
              <a:gd name="connsiteX21" fmla="*/ 748500 w 12191999"/>
              <a:gd name="connsiteY21" fmla="*/ 864 h 5166360"/>
              <a:gd name="connsiteX22" fmla="*/ 0 w 12191999"/>
              <a:gd name="connsiteY22" fmla="*/ 864 h 5166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1999" h="5166360">
                <a:moveTo>
                  <a:pt x="0" y="0"/>
                </a:moveTo>
                <a:lnTo>
                  <a:pt x="1822388" y="0"/>
                </a:lnTo>
                <a:lnTo>
                  <a:pt x="6468290" y="0"/>
                </a:lnTo>
                <a:lnTo>
                  <a:pt x="7796394" y="0"/>
                </a:lnTo>
                <a:lnTo>
                  <a:pt x="8376834" y="0"/>
                </a:lnTo>
                <a:lnTo>
                  <a:pt x="9704938" y="0"/>
                </a:lnTo>
                <a:lnTo>
                  <a:pt x="9704938" y="2"/>
                </a:lnTo>
                <a:lnTo>
                  <a:pt x="10283456" y="2"/>
                </a:lnTo>
                <a:lnTo>
                  <a:pt x="10863897" y="2"/>
                </a:lnTo>
                <a:lnTo>
                  <a:pt x="12191999" y="2"/>
                </a:lnTo>
                <a:lnTo>
                  <a:pt x="12191999" y="5166360"/>
                </a:lnTo>
                <a:lnTo>
                  <a:pt x="0" y="5166360"/>
                </a:lnTo>
                <a:lnTo>
                  <a:pt x="0" y="2604436"/>
                </a:lnTo>
                <a:lnTo>
                  <a:pt x="862341" y="743371"/>
                </a:lnTo>
                <a:lnTo>
                  <a:pt x="0" y="743371"/>
                </a:lnTo>
                <a:lnTo>
                  <a:pt x="0" y="742508"/>
                </a:lnTo>
                <a:lnTo>
                  <a:pt x="92826" y="742508"/>
                </a:lnTo>
                <a:lnTo>
                  <a:pt x="406486" y="742508"/>
                </a:lnTo>
                <a:lnTo>
                  <a:pt x="406486" y="742507"/>
                </a:lnTo>
                <a:lnTo>
                  <a:pt x="862741" y="742507"/>
                </a:lnTo>
                <a:lnTo>
                  <a:pt x="1206388" y="864"/>
                </a:lnTo>
                <a:lnTo>
                  <a:pt x="748500" y="864"/>
                </a:lnTo>
                <a:lnTo>
                  <a:pt x="0" y="864"/>
                </a:lnTo>
                <a:close/>
              </a:path>
            </a:pathLst>
          </a:custGeom>
          <a:solidFill>
            <a:srgbClr val="A6A6A6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79F5F2B-8B58-4140-AE6A-51F6C67B18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691641"/>
            <a:ext cx="971654" cy="2096979"/>
          </a:xfrm>
          <a:custGeom>
            <a:avLst/>
            <a:gdLst>
              <a:gd name="connsiteX0" fmla="*/ 0 w 971654"/>
              <a:gd name="connsiteY0" fmla="*/ 0 h 2096979"/>
              <a:gd name="connsiteX1" fmla="*/ 971654 w 971654"/>
              <a:gd name="connsiteY1" fmla="*/ 0 h 2096979"/>
              <a:gd name="connsiteX2" fmla="*/ 0 w 971654"/>
              <a:gd name="connsiteY2" fmla="*/ 2096979 h 2096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71654" h="2096979">
                <a:moveTo>
                  <a:pt x="0" y="0"/>
                </a:moveTo>
                <a:lnTo>
                  <a:pt x="971654" y="0"/>
                </a:lnTo>
                <a:lnTo>
                  <a:pt x="0" y="2096979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82757" y="1920240"/>
            <a:ext cx="10873408" cy="4868186"/>
          </a:xfrm>
        </p:spPr>
        <p:txBody>
          <a:bodyPr anchor="t">
            <a:normAutofit/>
          </a:bodyPr>
          <a:lstStyle/>
          <a:p>
            <a:pPr marL="0" indent="0">
              <a:buNone/>
            </a:pPr>
            <a:r>
              <a:rPr lang="fr-FR" sz="13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endParaRPr lang="fr-FR" sz="22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fr-FR" sz="22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fr-FR" sz="1300" dirty="0"/>
          </a:p>
        </p:txBody>
      </p:sp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67F7EEFE-A2CB-4C9D-9032-43B5B4E0EC06}"/>
              </a:ext>
            </a:extLst>
          </p:cNvPr>
          <p:cNvGraphicFramePr>
            <a:graphicFrameLocks noGrp="1"/>
          </p:cNvGraphicFramePr>
          <p:nvPr/>
        </p:nvGraphicFramePr>
        <p:xfrm>
          <a:off x="723900" y="2066925"/>
          <a:ext cx="5270915" cy="3909264"/>
        </p:xfrm>
        <a:graphic>
          <a:graphicData uri="http://schemas.openxmlformats.org/drawingml/2006/table">
            <a:tbl>
              <a:tblPr firstRow="1" firstCol="1" bandRow="1"/>
              <a:tblGrid>
                <a:gridCol w="2573335">
                  <a:extLst>
                    <a:ext uri="{9D8B030D-6E8A-4147-A177-3AD203B41FA5}">
                      <a16:colId xmlns:a16="http://schemas.microsoft.com/office/drawing/2014/main" val="2315687336"/>
                    </a:ext>
                  </a:extLst>
                </a:gridCol>
                <a:gridCol w="2697580">
                  <a:extLst>
                    <a:ext uri="{9D8B030D-6E8A-4147-A177-3AD203B41FA5}">
                      <a16:colId xmlns:a16="http://schemas.microsoft.com/office/drawing/2014/main" val="2345309610"/>
                    </a:ext>
                  </a:extLst>
                </a:gridCol>
              </a:tblGrid>
              <a:tr h="977316">
                <a:tc gridSpan="2"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ompte de résultat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09180844"/>
                  </a:ext>
                </a:extLst>
              </a:tr>
              <a:tr h="977316"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harges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duits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2004215"/>
                  </a:ext>
                </a:extLst>
              </a:tr>
              <a:tr h="977316">
                <a:tc>
                  <a:txBody>
                    <a:bodyPr/>
                    <a:lstStyle/>
                    <a:p>
                      <a:pPr algn="l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ugmentation =&gt; Débi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ugmentation =&gt; Crédi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0641586"/>
                  </a:ext>
                </a:extLst>
              </a:tr>
              <a:tr h="977316">
                <a:tc>
                  <a:txBody>
                    <a:bodyPr/>
                    <a:lstStyle/>
                    <a:p>
                      <a:pPr algn="l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iminution =&gt; Crédi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iminution =&gt; Débi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8090193"/>
                  </a:ext>
                </a:extLst>
              </a:tr>
            </a:tbl>
          </a:graphicData>
        </a:graphic>
      </p:graphicFrame>
      <p:pic>
        <p:nvPicPr>
          <p:cNvPr id="1026" name="Picture 2" descr="compte de resultat | Cours de comptabilité, Analyse financière, Comptabilité">
            <a:extLst>
              <a:ext uri="{FF2B5EF4-FFF2-40B4-BE49-F238E27FC236}">
                <a16:creationId xmlns:a16="http://schemas.microsoft.com/office/drawing/2014/main" id="{51A28B2C-888D-4E11-A952-098A8A2DCF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8629" y="2066925"/>
            <a:ext cx="5905453" cy="39092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44391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2517F6E-26E9-44E8-815E-774552D9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64614" y="1783959"/>
            <a:ext cx="4087306" cy="2889114"/>
          </a:xfrm>
          <a:prstGeom prst="ellipse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3400" b="0" i="0" dirty="0">
                <a:effectLst/>
              </a:rPr>
              <a:t>Le </a:t>
            </a:r>
            <a:r>
              <a:rPr lang="en-US" sz="3400" b="0" i="0" dirty="0" err="1">
                <a:effectLst/>
              </a:rPr>
              <a:t>Bilan</a:t>
            </a:r>
            <a:r>
              <a:rPr lang="en-US" sz="3400" b="0" i="0" dirty="0">
                <a:effectLst/>
              </a:rPr>
              <a:t> - </a:t>
            </a:r>
            <a:r>
              <a:rPr lang="en-US" sz="3400" b="0" i="0" dirty="0" err="1">
                <a:effectLst/>
              </a:rPr>
              <a:t>Patrimoine</a:t>
            </a:r>
            <a:endParaRPr lang="en-US" sz="3400" dirty="0"/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E49CC64F-7275-4E33-961B-0C5CDC4398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 flipV="1">
            <a:off x="1" y="0"/>
            <a:ext cx="7188051" cy="6858000"/>
          </a:xfrm>
          <a:custGeom>
            <a:avLst/>
            <a:gdLst>
              <a:gd name="connsiteX0" fmla="*/ 7188051 w 7188051"/>
              <a:gd name="connsiteY0" fmla="*/ 6858000 h 6858000"/>
              <a:gd name="connsiteX1" fmla="*/ 108694 w 7188051"/>
              <a:gd name="connsiteY1" fmla="*/ 6858000 h 6858000"/>
              <a:gd name="connsiteX2" fmla="*/ 79127 w 7188051"/>
              <a:gd name="connsiteY2" fmla="*/ 6681235 h 6858000"/>
              <a:gd name="connsiteX3" fmla="*/ 0 w 7188051"/>
              <a:gd name="connsiteY3" fmla="*/ 5565888 h 6858000"/>
              <a:gd name="connsiteX4" fmla="*/ 2190696 w 7188051"/>
              <a:gd name="connsiteY4" fmla="*/ 145339 h 6858000"/>
              <a:gd name="connsiteX5" fmla="*/ 2339431 w 7188051"/>
              <a:gd name="connsiteY5" fmla="*/ 0 h 6858000"/>
              <a:gd name="connsiteX6" fmla="*/ 7188051 w 718805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88051" h="6858000">
                <a:moveTo>
                  <a:pt x="7188051" y="6858000"/>
                </a:moveTo>
                <a:lnTo>
                  <a:pt x="108694" y="6858000"/>
                </a:lnTo>
                <a:lnTo>
                  <a:pt x="79127" y="6681235"/>
                </a:lnTo>
                <a:cubicBezTo>
                  <a:pt x="26981" y="6316967"/>
                  <a:pt x="0" y="5944579"/>
                  <a:pt x="0" y="5565888"/>
                </a:cubicBezTo>
                <a:cubicBezTo>
                  <a:pt x="0" y="3459953"/>
                  <a:pt x="834428" y="1548908"/>
                  <a:pt x="2190696" y="145339"/>
                </a:cubicBezTo>
                <a:lnTo>
                  <a:pt x="2339431" y="0"/>
                </a:lnTo>
                <a:lnTo>
                  <a:pt x="7188051" y="0"/>
                </a:lnTo>
                <a:close/>
              </a:path>
            </a:pathLst>
          </a:cu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6" name="Picture 35" descr="Calculatrice et bloc-notes">
            <a:extLst>
              <a:ext uri="{FF2B5EF4-FFF2-40B4-BE49-F238E27FC236}">
                <a16:creationId xmlns:a16="http://schemas.microsoft.com/office/drawing/2014/main" id="{E19A54F0-B20E-4F8C-9128-4269DFE89C5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0658" r="932" b="-1"/>
          <a:stretch/>
        </p:blipFill>
        <p:spPr>
          <a:xfrm>
            <a:off x="1" y="10"/>
            <a:ext cx="7028495" cy="6857990"/>
          </a:xfrm>
          <a:custGeom>
            <a:avLst/>
            <a:gdLst/>
            <a:ahLst/>
            <a:cxnLst/>
            <a:rect l="l" t="t" r="r" b="b"/>
            <a:pathLst>
              <a:path w="7028495" h="6858000">
                <a:moveTo>
                  <a:pt x="0" y="0"/>
                </a:moveTo>
                <a:lnTo>
                  <a:pt x="6915668" y="0"/>
                </a:lnTo>
                <a:lnTo>
                  <a:pt x="6952411" y="219663"/>
                </a:lnTo>
                <a:cubicBezTo>
                  <a:pt x="7002551" y="569921"/>
                  <a:pt x="7028495" y="927986"/>
                  <a:pt x="7028495" y="1292112"/>
                </a:cubicBezTo>
                <a:cubicBezTo>
                  <a:pt x="7028495" y="3343346"/>
                  <a:pt x="6205186" y="5202289"/>
                  <a:pt x="4870994" y="6556512"/>
                </a:cubicBezTo>
                <a:lnTo>
                  <a:pt x="4556185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AE196125-F657-4A8D-BF6F-9D35E2A19BAA}"/>
              </a:ext>
            </a:extLst>
          </p:cNvPr>
          <p:cNvSpPr txBox="1"/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23" name="ZoneTexte 2">
            <a:extLst>
              <a:ext uri="{FF2B5EF4-FFF2-40B4-BE49-F238E27FC236}">
                <a16:creationId xmlns:a16="http://schemas.microsoft.com/office/drawing/2014/main" id="{61BA051E-0D20-4CC3-9958-C0CFDE297C40}"/>
              </a:ext>
            </a:extLst>
          </p:cNvPr>
          <p:cNvSpPr txBox="1"/>
          <p:nvPr/>
        </p:nvSpPr>
        <p:spPr>
          <a:xfrm>
            <a:off x="1179226" y="3092970"/>
            <a:ext cx="9833548" cy="26939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</p:txBody>
      </p:sp>
      <p:grpSp>
        <p:nvGrpSpPr>
          <p:cNvPr id="7" name="Awar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1C68EA-2299-4048-9768-29BE3CCCA72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0"/>
            <a:ext cx="344587" cy="542925"/>
            <a:chOff x="2585735" y="108789"/>
            <a:chExt cx="344587" cy="542925"/>
          </a:xfrm>
        </p:grpSpPr>
        <p:sp>
          <p:nvSpPr>
            <p:cNvPr id="8" name="Freeform: Shape 206">
              <a:extLst>
                <a:ext uri="{FF2B5EF4-FFF2-40B4-BE49-F238E27FC236}">
                  <a16:creationId xmlns:a16="http://schemas.microsoft.com/office/drawing/2014/main" id="{F1582718-4360-43D7-8A82-7C736EEF1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735" y="108789"/>
              <a:ext cx="344587" cy="344988"/>
            </a:xfrm>
            <a:custGeom>
              <a:avLst/>
              <a:gdLst>
                <a:gd name="connsiteX0" fmla="*/ 167961 w 344587"/>
                <a:gd name="connsiteY0" fmla="*/ 276672 h 344988"/>
                <a:gd name="connsiteX1" fmla="*/ 168781 w 344587"/>
                <a:gd name="connsiteY1" fmla="*/ 281441 h 344988"/>
                <a:gd name="connsiteX2" fmla="*/ 165282 w 344587"/>
                <a:gd name="connsiteY2" fmla="*/ 284827 h 344988"/>
                <a:gd name="connsiteX3" fmla="*/ 170121 w 344587"/>
                <a:gd name="connsiteY3" fmla="*/ 285532 h 344988"/>
                <a:gd name="connsiteX4" fmla="*/ 172307 w 344587"/>
                <a:gd name="connsiteY4" fmla="*/ 289894 h 344988"/>
                <a:gd name="connsiteX5" fmla="*/ 174467 w 344587"/>
                <a:gd name="connsiteY5" fmla="*/ 285532 h 344988"/>
                <a:gd name="connsiteX6" fmla="*/ 179306 w 344587"/>
                <a:gd name="connsiteY6" fmla="*/ 284827 h 344988"/>
                <a:gd name="connsiteX7" fmla="*/ 175806 w 344587"/>
                <a:gd name="connsiteY7" fmla="*/ 281441 h 344988"/>
                <a:gd name="connsiteX8" fmla="*/ 176627 w 344587"/>
                <a:gd name="connsiteY8" fmla="*/ 276672 h 344988"/>
                <a:gd name="connsiteX9" fmla="*/ 172307 w 344587"/>
                <a:gd name="connsiteY9" fmla="*/ 278921 h 344988"/>
                <a:gd name="connsiteX10" fmla="*/ 194527 w 344587"/>
                <a:gd name="connsiteY10" fmla="*/ 274468 h 344988"/>
                <a:gd name="connsiteX11" fmla="*/ 190704 w 344587"/>
                <a:gd name="connsiteY11" fmla="*/ 277391 h 344988"/>
                <a:gd name="connsiteX12" fmla="*/ 186127 w 344587"/>
                <a:gd name="connsiteY12" fmla="*/ 275943 h 344988"/>
                <a:gd name="connsiteX13" fmla="*/ 187742 w 344587"/>
                <a:gd name="connsiteY13" fmla="*/ 280475 h 344988"/>
                <a:gd name="connsiteX14" fmla="*/ 184915 w 344587"/>
                <a:gd name="connsiteY14" fmla="*/ 284363 h 344988"/>
                <a:gd name="connsiteX15" fmla="*/ 189761 w 344587"/>
                <a:gd name="connsiteY15" fmla="*/ 284229 h 344988"/>
                <a:gd name="connsiteX16" fmla="*/ 192615 w 344587"/>
                <a:gd name="connsiteY16" fmla="*/ 288091 h 344988"/>
                <a:gd name="connsiteX17" fmla="*/ 193961 w 344587"/>
                <a:gd name="connsiteY17" fmla="*/ 283479 h 344988"/>
                <a:gd name="connsiteX18" fmla="*/ 198538 w 344587"/>
                <a:gd name="connsiteY18" fmla="*/ 281977 h 344988"/>
                <a:gd name="connsiteX19" fmla="*/ 194554 w 344587"/>
                <a:gd name="connsiteY19" fmla="*/ 279268 h 344988"/>
                <a:gd name="connsiteX20" fmla="*/ 149919 w 344587"/>
                <a:gd name="connsiteY20" fmla="*/ 274468 h 344988"/>
                <a:gd name="connsiteX21" fmla="*/ 149892 w 344587"/>
                <a:gd name="connsiteY21" fmla="*/ 279268 h 344988"/>
                <a:gd name="connsiteX22" fmla="*/ 145849 w 344587"/>
                <a:gd name="connsiteY22" fmla="*/ 281977 h 344988"/>
                <a:gd name="connsiteX23" fmla="*/ 150493 w 344587"/>
                <a:gd name="connsiteY23" fmla="*/ 283479 h 344988"/>
                <a:gd name="connsiteX24" fmla="*/ 151859 w 344587"/>
                <a:gd name="connsiteY24" fmla="*/ 288091 h 344988"/>
                <a:gd name="connsiteX25" fmla="*/ 154755 w 344587"/>
                <a:gd name="connsiteY25" fmla="*/ 284229 h 344988"/>
                <a:gd name="connsiteX26" fmla="*/ 159672 w 344587"/>
                <a:gd name="connsiteY26" fmla="*/ 284363 h 344988"/>
                <a:gd name="connsiteX27" fmla="*/ 156804 w 344587"/>
                <a:gd name="connsiteY27" fmla="*/ 280475 h 344988"/>
                <a:gd name="connsiteX28" fmla="*/ 158443 w 344587"/>
                <a:gd name="connsiteY28" fmla="*/ 275943 h 344988"/>
                <a:gd name="connsiteX29" fmla="*/ 153798 w 344587"/>
                <a:gd name="connsiteY29" fmla="*/ 277391 h 344988"/>
                <a:gd name="connsiteX30" fmla="*/ 211844 w 344587"/>
                <a:gd name="connsiteY30" fmla="*/ 268858 h 344988"/>
                <a:gd name="connsiteX31" fmla="*/ 208584 w 344587"/>
                <a:gd name="connsiteY31" fmla="*/ 272467 h 344988"/>
                <a:gd name="connsiteX32" fmla="*/ 203747 w 344587"/>
                <a:gd name="connsiteY32" fmla="*/ 271811 h 344988"/>
                <a:gd name="connsiteX33" fmla="*/ 206165 w 344587"/>
                <a:gd name="connsiteY33" fmla="*/ 276075 h 344988"/>
                <a:gd name="connsiteX34" fmla="*/ 204046 w 344587"/>
                <a:gd name="connsiteY34" fmla="*/ 280504 h 344988"/>
                <a:gd name="connsiteX35" fmla="*/ 208828 w 344587"/>
                <a:gd name="connsiteY35" fmla="*/ 279492 h 344988"/>
                <a:gd name="connsiteX36" fmla="*/ 212334 w 344587"/>
                <a:gd name="connsiteY36" fmla="*/ 282882 h 344988"/>
                <a:gd name="connsiteX37" fmla="*/ 212877 w 344587"/>
                <a:gd name="connsiteY37" fmla="*/ 278016 h 344988"/>
                <a:gd name="connsiteX38" fmla="*/ 217170 w 344587"/>
                <a:gd name="connsiteY38" fmla="*/ 275693 h 344988"/>
                <a:gd name="connsiteX39" fmla="*/ 212714 w 344587"/>
                <a:gd name="connsiteY39" fmla="*/ 273670 h 344988"/>
                <a:gd name="connsiteX40" fmla="*/ 132663 w 344587"/>
                <a:gd name="connsiteY40" fmla="*/ 268858 h 344988"/>
                <a:gd name="connsiteX41" fmla="*/ 131807 w 344587"/>
                <a:gd name="connsiteY41" fmla="*/ 273670 h 344988"/>
                <a:gd name="connsiteX42" fmla="*/ 127417 w 344587"/>
                <a:gd name="connsiteY42" fmla="*/ 275693 h 344988"/>
                <a:gd name="connsiteX43" fmla="*/ 131646 w 344587"/>
                <a:gd name="connsiteY43" fmla="*/ 278016 h 344988"/>
                <a:gd name="connsiteX44" fmla="*/ 132182 w 344587"/>
                <a:gd name="connsiteY44" fmla="*/ 282882 h 344988"/>
                <a:gd name="connsiteX45" fmla="*/ 135635 w 344587"/>
                <a:gd name="connsiteY45" fmla="*/ 279492 h 344988"/>
                <a:gd name="connsiteX46" fmla="*/ 140345 w 344587"/>
                <a:gd name="connsiteY46" fmla="*/ 280504 h 344988"/>
                <a:gd name="connsiteX47" fmla="*/ 138258 w 344587"/>
                <a:gd name="connsiteY47" fmla="*/ 276075 h 344988"/>
                <a:gd name="connsiteX48" fmla="*/ 140640 w 344587"/>
                <a:gd name="connsiteY48" fmla="*/ 271811 h 344988"/>
                <a:gd name="connsiteX49" fmla="*/ 135875 w 344587"/>
                <a:gd name="connsiteY49" fmla="*/ 272467 h 344988"/>
                <a:gd name="connsiteX50" fmla="*/ 228015 w 344587"/>
                <a:gd name="connsiteY50" fmla="*/ 260644 h 344988"/>
                <a:gd name="connsiteX51" fmla="*/ 225418 w 344587"/>
                <a:gd name="connsiteY51" fmla="*/ 264769 h 344988"/>
                <a:gd name="connsiteX52" fmla="*/ 220576 w 344587"/>
                <a:gd name="connsiteY52" fmla="*/ 264959 h 344988"/>
                <a:gd name="connsiteX53" fmla="*/ 223687 w 344587"/>
                <a:gd name="connsiteY53" fmla="*/ 268704 h 344988"/>
                <a:gd name="connsiteX54" fmla="*/ 222361 w 344587"/>
                <a:gd name="connsiteY54" fmla="*/ 273372 h 344988"/>
                <a:gd name="connsiteX55" fmla="*/ 226879 w 344587"/>
                <a:gd name="connsiteY55" fmla="*/ 271581 h 344988"/>
                <a:gd name="connsiteX56" fmla="*/ 230910 w 344587"/>
                <a:gd name="connsiteY56" fmla="*/ 274268 h 344988"/>
                <a:gd name="connsiteX57" fmla="*/ 230585 w 344587"/>
                <a:gd name="connsiteY57" fmla="*/ 269410 h 344988"/>
                <a:gd name="connsiteX58" fmla="*/ 234399 w 344587"/>
                <a:gd name="connsiteY58" fmla="*/ 266398 h 344988"/>
                <a:gd name="connsiteX59" fmla="*/ 229692 w 344587"/>
                <a:gd name="connsiteY59" fmla="*/ 265204 h 344988"/>
                <a:gd name="connsiteX60" fmla="*/ 116572 w 344587"/>
                <a:gd name="connsiteY60" fmla="*/ 260644 h 344988"/>
                <a:gd name="connsiteX61" fmla="*/ 114895 w 344587"/>
                <a:gd name="connsiteY61" fmla="*/ 265204 h 344988"/>
                <a:gd name="connsiteX62" fmla="*/ 110188 w 344587"/>
                <a:gd name="connsiteY62" fmla="*/ 266398 h 344988"/>
                <a:gd name="connsiteX63" fmla="*/ 114002 w 344587"/>
                <a:gd name="connsiteY63" fmla="*/ 269410 h 344988"/>
                <a:gd name="connsiteX64" fmla="*/ 113678 w 344587"/>
                <a:gd name="connsiteY64" fmla="*/ 274268 h 344988"/>
                <a:gd name="connsiteX65" fmla="*/ 117708 w 344587"/>
                <a:gd name="connsiteY65" fmla="*/ 271581 h 344988"/>
                <a:gd name="connsiteX66" fmla="*/ 122226 w 344587"/>
                <a:gd name="connsiteY66" fmla="*/ 273372 h 344988"/>
                <a:gd name="connsiteX67" fmla="*/ 120900 w 344587"/>
                <a:gd name="connsiteY67" fmla="*/ 268704 h 344988"/>
                <a:gd name="connsiteX68" fmla="*/ 124011 w 344587"/>
                <a:gd name="connsiteY68" fmla="*/ 264959 h 344988"/>
                <a:gd name="connsiteX69" fmla="*/ 119169 w 344587"/>
                <a:gd name="connsiteY69" fmla="*/ 264769 h 344988"/>
                <a:gd name="connsiteX70" fmla="*/ 242363 w 344587"/>
                <a:gd name="connsiteY70" fmla="*/ 249625 h 344988"/>
                <a:gd name="connsiteX71" fmla="*/ 240527 w 344587"/>
                <a:gd name="connsiteY71" fmla="*/ 254100 h 344988"/>
                <a:gd name="connsiteX72" fmla="*/ 235802 w 344587"/>
                <a:gd name="connsiteY72" fmla="*/ 255124 h 344988"/>
                <a:gd name="connsiteX73" fmla="*/ 239501 w 344587"/>
                <a:gd name="connsiteY73" fmla="*/ 258251 h 344988"/>
                <a:gd name="connsiteX74" fmla="*/ 239015 w 344587"/>
                <a:gd name="connsiteY74" fmla="*/ 263048 h 344988"/>
                <a:gd name="connsiteX75" fmla="*/ 243119 w 344587"/>
                <a:gd name="connsiteY75" fmla="*/ 260515 h 344988"/>
                <a:gd name="connsiteX76" fmla="*/ 247546 w 344587"/>
                <a:gd name="connsiteY76" fmla="*/ 262455 h 344988"/>
                <a:gd name="connsiteX77" fmla="*/ 246413 w 344587"/>
                <a:gd name="connsiteY77" fmla="*/ 257766 h 344988"/>
                <a:gd name="connsiteX78" fmla="*/ 249625 w 344587"/>
                <a:gd name="connsiteY78" fmla="*/ 254154 h 344988"/>
                <a:gd name="connsiteX79" fmla="*/ 244792 w 344587"/>
                <a:gd name="connsiteY79" fmla="*/ 253776 h 344988"/>
                <a:gd name="connsiteX80" fmla="*/ 102024 w 344587"/>
                <a:gd name="connsiteY80" fmla="*/ 249625 h 344988"/>
                <a:gd name="connsiteX81" fmla="*/ 99594 w 344587"/>
                <a:gd name="connsiteY81" fmla="*/ 253776 h 344988"/>
                <a:gd name="connsiteX82" fmla="*/ 94762 w 344587"/>
                <a:gd name="connsiteY82" fmla="*/ 254154 h 344988"/>
                <a:gd name="connsiteX83" fmla="*/ 97975 w 344587"/>
                <a:gd name="connsiteY83" fmla="*/ 257766 h 344988"/>
                <a:gd name="connsiteX84" fmla="*/ 96841 w 344587"/>
                <a:gd name="connsiteY84" fmla="*/ 262455 h 344988"/>
                <a:gd name="connsiteX85" fmla="*/ 101268 w 344587"/>
                <a:gd name="connsiteY85" fmla="*/ 260515 h 344988"/>
                <a:gd name="connsiteX86" fmla="*/ 105372 w 344587"/>
                <a:gd name="connsiteY86" fmla="*/ 263048 h 344988"/>
                <a:gd name="connsiteX87" fmla="*/ 104886 w 344587"/>
                <a:gd name="connsiteY87" fmla="*/ 258251 h 344988"/>
                <a:gd name="connsiteX88" fmla="*/ 108585 w 344587"/>
                <a:gd name="connsiteY88" fmla="*/ 255124 h 344988"/>
                <a:gd name="connsiteX89" fmla="*/ 103860 w 344587"/>
                <a:gd name="connsiteY89" fmla="*/ 254100 h 344988"/>
                <a:gd name="connsiteX90" fmla="*/ 254712 w 344587"/>
                <a:gd name="connsiteY90" fmla="*/ 236203 h 344988"/>
                <a:gd name="connsiteX91" fmla="*/ 253690 w 344587"/>
                <a:gd name="connsiteY91" fmla="*/ 240928 h 344988"/>
                <a:gd name="connsiteX92" fmla="*/ 249225 w 344587"/>
                <a:gd name="connsiteY92" fmla="*/ 242764 h 344988"/>
                <a:gd name="connsiteX93" fmla="*/ 253394 w 344587"/>
                <a:gd name="connsiteY93" fmla="*/ 245220 h 344988"/>
                <a:gd name="connsiteX94" fmla="*/ 253771 w 344587"/>
                <a:gd name="connsiteY94" fmla="*/ 250026 h 344988"/>
                <a:gd name="connsiteX95" fmla="*/ 257348 w 344587"/>
                <a:gd name="connsiteY95" fmla="*/ 246813 h 344988"/>
                <a:gd name="connsiteX96" fmla="*/ 262056 w 344587"/>
                <a:gd name="connsiteY96" fmla="*/ 247974 h 344988"/>
                <a:gd name="connsiteX97" fmla="*/ 260119 w 344587"/>
                <a:gd name="connsiteY97" fmla="*/ 243520 h 344988"/>
                <a:gd name="connsiteX98" fmla="*/ 262648 w 344587"/>
                <a:gd name="connsiteY98" fmla="*/ 239416 h 344988"/>
                <a:gd name="connsiteX99" fmla="*/ 257833 w 344587"/>
                <a:gd name="connsiteY99" fmla="*/ 239902 h 344988"/>
                <a:gd name="connsiteX100" fmla="*/ 89793 w 344587"/>
                <a:gd name="connsiteY100" fmla="*/ 236203 h 344988"/>
                <a:gd name="connsiteX101" fmla="*/ 86626 w 344587"/>
                <a:gd name="connsiteY101" fmla="*/ 239902 h 344988"/>
                <a:gd name="connsiteX102" fmla="*/ 81739 w 344587"/>
                <a:gd name="connsiteY102" fmla="*/ 239416 h 344988"/>
                <a:gd name="connsiteX103" fmla="*/ 84333 w 344587"/>
                <a:gd name="connsiteY103" fmla="*/ 243520 h 344988"/>
                <a:gd name="connsiteX104" fmla="*/ 82340 w 344587"/>
                <a:gd name="connsiteY104" fmla="*/ 247974 h 344988"/>
                <a:gd name="connsiteX105" fmla="*/ 87118 w 344587"/>
                <a:gd name="connsiteY105" fmla="*/ 246813 h 344988"/>
                <a:gd name="connsiteX106" fmla="*/ 90749 w 344587"/>
                <a:gd name="connsiteY106" fmla="*/ 250026 h 344988"/>
                <a:gd name="connsiteX107" fmla="*/ 91131 w 344587"/>
                <a:gd name="connsiteY107" fmla="*/ 245220 h 344988"/>
                <a:gd name="connsiteX108" fmla="*/ 95363 w 344587"/>
                <a:gd name="connsiteY108" fmla="*/ 242764 h 344988"/>
                <a:gd name="connsiteX109" fmla="*/ 90831 w 344587"/>
                <a:gd name="connsiteY109" fmla="*/ 240928 h 344988"/>
                <a:gd name="connsiteX110" fmla="*/ 264558 w 344587"/>
                <a:gd name="connsiteY110" fmla="*/ 220977 h 344988"/>
                <a:gd name="connsiteX111" fmla="*/ 264341 w 344587"/>
                <a:gd name="connsiteY111" fmla="*/ 225819 h 344988"/>
                <a:gd name="connsiteX112" fmla="*/ 260243 w 344587"/>
                <a:gd name="connsiteY112" fmla="*/ 228416 h 344988"/>
                <a:gd name="connsiteX113" fmla="*/ 264803 w 344587"/>
                <a:gd name="connsiteY113" fmla="*/ 230093 h 344988"/>
                <a:gd name="connsiteX114" fmla="*/ 265997 w 344587"/>
                <a:gd name="connsiteY114" fmla="*/ 234800 h 344988"/>
                <a:gd name="connsiteX115" fmla="*/ 269009 w 344587"/>
                <a:gd name="connsiteY115" fmla="*/ 230986 h 344988"/>
                <a:gd name="connsiteX116" fmla="*/ 273867 w 344587"/>
                <a:gd name="connsiteY116" fmla="*/ 231311 h 344988"/>
                <a:gd name="connsiteX117" fmla="*/ 271180 w 344587"/>
                <a:gd name="connsiteY117" fmla="*/ 227280 h 344988"/>
                <a:gd name="connsiteX118" fmla="*/ 272971 w 344587"/>
                <a:gd name="connsiteY118" fmla="*/ 222762 h 344988"/>
                <a:gd name="connsiteX119" fmla="*/ 268276 w 344587"/>
                <a:gd name="connsiteY119" fmla="*/ 224088 h 344988"/>
                <a:gd name="connsiteX120" fmla="*/ 80029 w 344587"/>
                <a:gd name="connsiteY120" fmla="*/ 220977 h 344988"/>
                <a:gd name="connsiteX121" fmla="*/ 76311 w 344587"/>
                <a:gd name="connsiteY121" fmla="*/ 224088 h 344988"/>
                <a:gd name="connsiteX122" fmla="*/ 71616 w 344587"/>
                <a:gd name="connsiteY122" fmla="*/ 222762 h 344988"/>
                <a:gd name="connsiteX123" fmla="*/ 73407 w 344587"/>
                <a:gd name="connsiteY123" fmla="*/ 227280 h 344988"/>
                <a:gd name="connsiteX124" fmla="*/ 70721 w 344587"/>
                <a:gd name="connsiteY124" fmla="*/ 231311 h 344988"/>
                <a:gd name="connsiteX125" fmla="*/ 75578 w 344587"/>
                <a:gd name="connsiteY125" fmla="*/ 230986 h 344988"/>
                <a:gd name="connsiteX126" fmla="*/ 78590 w 344587"/>
                <a:gd name="connsiteY126" fmla="*/ 234800 h 344988"/>
                <a:gd name="connsiteX127" fmla="*/ 79785 w 344587"/>
                <a:gd name="connsiteY127" fmla="*/ 230093 h 344988"/>
                <a:gd name="connsiteX128" fmla="*/ 84344 w 344587"/>
                <a:gd name="connsiteY128" fmla="*/ 228416 h 344988"/>
                <a:gd name="connsiteX129" fmla="*/ 80246 w 344587"/>
                <a:gd name="connsiteY129" fmla="*/ 225819 h 344988"/>
                <a:gd name="connsiteX130" fmla="*/ 271410 w 344587"/>
                <a:gd name="connsiteY130" fmla="*/ 204148 h 344988"/>
                <a:gd name="connsiteX131" fmla="*/ 272066 w 344587"/>
                <a:gd name="connsiteY131" fmla="*/ 208985 h 344988"/>
                <a:gd name="connsiteX132" fmla="*/ 268457 w 344587"/>
                <a:gd name="connsiteY132" fmla="*/ 212245 h 344988"/>
                <a:gd name="connsiteX133" fmla="*/ 273269 w 344587"/>
                <a:gd name="connsiteY133" fmla="*/ 213115 h 344988"/>
                <a:gd name="connsiteX134" fmla="*/ 275292 w 344587"/>
                <a:gd name="connsiteY134" fmla="*/ 217571 h 344988"/>
                <a:gd name="connsiteX135" fmla="*/ 277615 w 344587"/>
                <a:gd name="connsiteY135" fmla="*/ 213278 h 344988"/>
                <a:gd name="connsiteX136" fmla="*/ 282481 w 344587"/>
                <a:gd name="connsiteY136" fmla="*/ 212734 h 344988"/>
                <a:gd name="connsiteX137" fmla="*/ 279091 w 344587"/>
                <a:gd name="connsiteY137" fmla="*/ 209229 h 344988"/>
                <a:gd name="connsiteX138" fmla="*/ 280076 w 344587"/>
                <a:gd name="connsiteY138" fmla="*/ 204447 h 344988"/>
                <a:gd name="connsiteX139" fmla="*/ 275674 w 344587"/>
                <a:gd name="connsiteY139" fmla="*/ 206566 h 344988"/>
                <a:gd name="connsiteX140" fmla="*/ 73019 w 344587"/>
                <a:gd name="connsiteY140" fmla="*/ 204148 h 344988"/>
                <a:gd name="connsiteX141" fmla="*/ 68816 w 344587"/>
                <a:gd name="connsiteY141" fmla="*/ 206566 h 344988"/>
                <a:gd name="connsiteX142" fmla="*/ 64477 w 344587"/>
                <a:gd name="connsiteY142" fmla="*/ 204447 h 344988"/>
                <a:gd name="connsiteX143" fmla="*/ 65447 w 344587"/>
                <a:gd name="connsiteY143" fmla="*/ 209229 h 344988"/>
                <a:gd name="connsiteX144" fmla="*/ 62106 w 344587"/>
                <a:gd name="connsiteY144" fmla="*/ 212734 h 344988"/>
                <a:gd name="connsiteX145" fmla="*/ 66903 w 344587"/>
                <a:gd name="connsiteY145" fmla="*/ 213278 h 344988"/>
                <a:gd name="connsiteX146" fmla="*/ 69193 w 344587"/>
                <a:gd name="connsiteY146" fmla="*/ 217571 h 344988"/>
                <a:gd name="connsiteX147" fmla="*/ 71187 w 344587"/>
                <a:gd name="connsiteY147" fmla="*/ 213115 h 344988"/>
                <a:gd name="connsiteX148" fmla="*/ 75929 w 344587"/>
                <a:gd name="connsiteY148" fmla="*/ 212245 h 344988"/>
                <a:gd name="connsiteX149" fmla="*/ 72373 w 344587"/>
                <a:gd name="connsiteY149" fmla="*/ 208985 h 344988"/>
                <a:gd name="connsiteX150" fmla="*/ 283915 w 344587"/>
                <a:gd name="connsiteY150" fmla="*/ 185116 h 344988"/>
                <a:gd name="connsiteX151" fmla="*/ 279950 w 344587"/>
                <a:gd name="connsiteY151" fmla="*/ 187963 h 344988"/>
                <a:gd name="connsiteX152" fmla="*/ 275388 w 344587"/>
                <a:gd name="connsiteY152" fmla="*/ 186320 h 344988"/>
                <a:gd name="connsiteX153" fmla="*/ 276854 w 344587"/>
                <a:gd name="connsiteY153" fmla="*/ 191001 h 344988"/>
                <a:gd name="connsiteX154" fmla="*/ 273867 w 344587"/>
                <a:gd name="connsiteY154" fmla="*/ 194861 h 344988"/>
                <a:gd name="connsiteX155" fmla="*/ 278755 w 344587"/>
                <a:gd name="connsiteY155" fmla="*/ 194888 h 344988"/>
                <a:gd name="connsiteX156" fmla="*/ 281498 w 344587"/>
                <a:gd name="connsiteY156" fmla="*/ 198939 h 344988"/>
                <a:gd name="connsiteX157" fmla="*/ 283019 w 344587"/>
                <a:gd name="connsiteY157" fmla="*/ 194286 h 344988"/>
                <a:gd name="connsiteX158" fmla="*/ 287690 w 344587"/>
                <a:gd name="connsiteY158" fmla="*/ 192917 h 344988"/>
                <a:gd name="connsiteX159" fmla="*/ 283780 w 344587"/>
                <a:gd name="connsiteY159" fmla="*/ 190015 h 344988"/>
                <a:gd name="connsiteX160" fmla="*/ 60472 w 344587"/>
                <a:gd name="connsiteY160" fmla="*/ 185116 h 344988"/>
                <a:gd name="connsiteX161" fmla="*/ 60608 w 344587"/>
                <a:gd name="connsiteY161" fmla="*/ 190015 h 344988"/>
                <a:gd name="connsiteX162" fmla="*/ 56697 w 344587"/>
                <a:gd name="connsiteY162" fmla="*/ 192917 h 344988"/>
                <a:gd name="connsiteX163" fmla="*/ 61368 w 344587"/>
                <a:gd name="connsiteY163" fmla="*/ 194286 h 344988"/>
                <a:gd name="connsiteX164" fmla="*/ 62889 w 344587"/>
                <a:gd name="connsiteY164" fmla="*/ 198939 h 344988"/>
                <a:gd name="connsiteX165" fmla="*/ 65632 w 344587"/>
                <a:gd name="connsiteY165" fmla="*/ 194888 h 344988"/>
                <a:gd name="connsiteX166" fmla="*/ 70520 w 344587"/>
                <a:gd name="connsiteY166" fmla="*/ 194861 h 344988"/>
                <a:gd name="connsiteX167" fmla="*/ 67533 w 344587"/>
                <a:gd name="connsiteY167" fmla="*/ 191001 h 344988"/>
                <a:gd name="connsiteX168" fmla="*/ 68999 w 344587"/>
                <a:gd name="connsiteY168" fmla="*/ 186320 h 344988"/>
                <a:gd name="connsiteX169" fmla="*/ 64437 w 344587"/>
                <a:gd name="connsiteY169" fmla="*/ 187963 h 344988"/>
                <a:gd name="connsiteX170" fmla="*/ 284437 w 344587"/>
                <a:gd name="connsiteY170" fmla="*/ 165482 h 344988"/>
                <a:gd name="connsiteX171" fmla="*/ 281057 w 344587"/>
                <a:gd name="connsiteY171" fmla="*/ 168981 h 344988"/>
                <a:gd name="connsiteX172" fmla="*/ 276271 w 344587"/>
                <a:gd name="connsiteY172" fmla="*/ 168161 h 344988"/>
                <a:gd name="connsiteX173" fmla="*/ 278542 w 344587"/>
                <a:gd name="connsiteY173" fmla="*/ 172508 h 344988"/>
                <a:gd name="connsiteX174" fmla="*/ 276271 w 344587"/>
                <a:gd name="connsiteY174" fmla="*/ 176827 h 344988"/>
                <a:gd name="connsiteX175" fmla="*/ 281057 w 344587"/>
                <a:gd name="connsiteY175" fmla="*/ 176007 h 344988"/>
                <a:gd name="connsiteX176" fmla="*/ 284437 w 344587"/>
                <a:gd name="connsiteY176" fmla="*/ 179506 h 344988"/>
                <a:gd name="connsiteX177" fmla="*/ 285140 w 344587"/>
                <a:gd name="connsiteY177" fmla="*/ 174667 h 344988"/>
                <a:gd name="connsiteX178" fmla="*/ 289493 w 344587"/>
                <a:gd name="connsiteY178" fmla="*/ 172508 h 344988"/>
                <a:gd name="connsiteX179" fmla="*/ 285140 w 344587"/>
                <a:gd name="connsiteY179" fmla="*/ 170321 h 344988"/>
                <a:gd name="connsiteX180" fmla="*/ 60027 w 344587"/>
                <a:gd name="connsiteY180" fmla="*/ 165482 h 344988"/>
                <a:gd name="connsiteX181" fmla="*/ 59313 w 344587"/>
                <a:gd name="connsiteY181" fmla="*/ 170321 h 344988"/>
                <a:gd name="connsiteX182" fmla="*/ 54894 w 344587"/>
                <a:gd name="connsiteY182" fmla="*/ 172508 h 344988"/>
                <a:gd name="connsiteX183" fmla="*/ 59313 w 344587"/>
                <a:gd name="connsiteY183" fmla="*/ 174667 h 344988"/>
                <a:gd name="connsiteX184" fmla="*/ 60027 w 344587"/>
                <a:gd name="connsiteY184" fmla="*/ 179506 h 344988"/>
                <a:gd name="connsiteX185" fmla="*/ 63458 w 344587"/>
                <a:gd name="connsiteY185" fmla="*/ 176007 h 344988"/>
                <a:gd name="connsiteX186" fmla="*/ 68317 w 344587"/>
                <a:gd name="connsiteY186" fmla="*/ 176827 h 344988"/>
                <a:gd name="connsiteX187" fmla="*/ 66011 w 344587"/>
                <a:gd name="connsiteY187" fmla="*/ 172508 h 344988"/>
                <a:gd name="connsiteX188" fmla="*/ 68317 w 344587"/>
                <a:gd name="connsiteY188" fmla="*/ 168161 h 344988"/>
                <a:gd name="connsiteX189" fmla="*/ 63458 w 344587"/>
                <a:gd name="connsiteY189" fmla="*/ 168981 h 344988"/>
                <a:gd name="connsiteX190" fmla="*/ 281498 w 344587"/>
                <a:gd name="connsiteY190" fmla="*/ 146049 h 344988"/>
                <a:gd name="connsiteX191" fmla="*/ 278755 w 344587"/>
                <a:gd name="connsiteY191" fmla="*/ 150092 h 344988"/>
                <a:gd name="connsiteX192" fmla="*/ 273867 w 344587"/>
                <a:gd name="connsiteY192" fmla="*/ 150120 h 344988"/>
                <a:gd name="connsiteX193" fmla="*/ 276854 w 344587"/>
                <a:gd name="connsiteY193" fmla="*/ 153999 h 344988"/>
                <a:gd name="connsiteX194" fmla="*/ 275388 w 344587"/>
                <a:gd name="connsiteY194" fmla="*/ 158670 h 344988"/>
                <a:gd name="connsiteX195" fmla="*/ 279950 w 344587"/>
                <a:gd name="connsiteY195" fmla="*/ 157004 h 344988"/>
                <a:gd name="connsiteX196" fmla="*/ 283915 w 344587"/>
                <a:gd name="connsiteY196" fmla="*/ 159872 h 344988"/>
                <a:gd name="connsiteX197" fmla="*/ 283780 w 344587"/>
                <a:gd name="connsiteY197" fmla="*/ 154955 h 344988"/>
                <a:gd name="connsiteX198" fmla="*/ 287690 w 344587"/>
                <a:gd name="connsiteY198" fmla="*/ 152059 h 344988"/>
                <a:gd name="connsiteX199" fmla="*/ 283019 w 344587"/>
                <a:gd name="connsiteY199" fmla="*/ 150693 h 344988"/>
                <a:gd name="connsiteX200" fmla="*/ 62889 w 344587"/>
                <a:gd name="connsiteY200" fmla="*/ 146049 h 344988"/>
                <a:gd name="connsiteX201" fmla="*/ 61368 w 344587"/>
                <a:gd name="connsiteY201" fmla="*/ 150693 h 344988"/>
                <a:gd name="connsiteX202" fmla="*/ 56697 w 344587"/>
                <a:gd name="connsiteY202" fmla="*/ 152059 h 344988"/>
                <a:gd name="connsiteX203" fmla="*/ 60608 w 344587"/>
                <a:gd name="connsiteY203" fmla="*/ 154955 h 344988"/>
                <a:gd name="connsiteX204" fmla="*/ 60472 w 344587"/>
                <a:gd name="connsiteY204" fmla="*/ 159872 h 344988"/>
                <a:gd name="connsiteX205" fmla="*/ 64437 w 344587"/>
                <a:gd name="connsiteY205" fmla="*/ 157004 h 344988"/>
                <a:gd name="connsiteX206" fmla="*/ 68999 w 344587"/>
                <a:gd name="connsiteY206" fmla="*/ 158670 h 344988"/>
                <a:gd name="connsiteX207" fmla="*/ 67533 w 344587"/>
                <a:gd name="connsiteY207" fmla="*/ 153999 h 344988"/>
                <a:gd name="connsiteX208" fmla="*/ 70520 w 344587"/>
                <a:gd name="connsiteY208" fmla="*/ 150120 h 344988"/>
                <a:gd name="connsiteX209" fmla="*/ 65632 w 344587"/>
                <a:gd name="connsiteY209" fmla="*/ 150092 h 344988"/>
                <a:gd name="connsiteX210" fmla="*/ 275292 w 344587"/>
                <a:gd name="connsiteY210" fmla="*/ 127618 h 344988"/>
                <a:gd name="connsiteX211" fmla="*/ 273269 w 344587"/>
                <a:gd name="connsiteY211" fmla="*/ 132007 h 344988"/>
                <a:gd name="connsiteX212" fmla="*/ 268457 w 344587"/>
                <a:gd name="connsiteY212" fmla="*/ 132864 h 344988"/>
                <a:gd name="connsiteX213" fmla="*/ 272066 w 344587"/>
                <a:gd name="connsiteY213" fmla="*/ 136103 h 344988"/>
                <a:gd name="connsiteX214" fmla="*/ 271410 w 344587"/>
                <a:gd name="connsiteY214" fmla="*/ 140840 h 344988"/>
                <a:gd name="connsiteX215" fmla="*/ 275674 w 344587"/>
                <a:gd name="connsiteY215" fmla="*/ 138458 h 344988"/>
                <a:gd name="connsiteX216" fmla="*/ 280076 w 344587"/>
                <a:gd name="connsiteY216" fmla="*/ 140546 h 344988"/>
                <a:gd name="connsiteX217" fmla="*/ 279091 w 344587"/>
                <a:gd name="connsiteY217" fmla="*/ 135862 h 344988"/>
                <a:gd name="connsiteX218" fmla="*/ 282481 w 344587"/>
                <a:gd name="connsiteY218" fmla="*/ 132382 h 344988"/>
                <a:gd name="connsiteX219" fmla="*/ 277615 w 344587"/>
                <a:gd name="connsiteY219" fmla="*/ 131847 h 344988"/>
                <a:gd name="connsiteX220" fmla="*/ 69193 w 344587"/>
                <a:gd name="connsiteY220" fmla="*/ 127618 h 344988"/>
                <a:gd name="connsiteX221" fmla="*/ 66903 w 344587"/>
                <a:gd name="connsiteY221" fmla="*/ 131847 h 344988"/>
                <a:gd name="connsiteX222" fmla="*/ 62106 w 344587"/>
                <a:gd name="connsiteY222" fmla="*/ 132382 h 344988"/>
                <a:gd name="connsiteX223" fmla="*/ 65447 w 344587"/>
                <a:gd name="connsiteY223" fmla="*/ 135862 h 344988"/>
                <a:gd name="connsiteX224" fmla="*/ 64477 w 344587"/>
                <a:gd name="connsiteY224" fmla="*/ 140546 h 344988"/>
                <a:gd name="connsiteX225" fmla="*/ 68816 w 344587"/>
                <a:gd name="connsiteY225" fmla="*/ 138458 h 344988"/>
                <a:gd name="connsiteX226" fmla="*/ 73019 w 344587"/>
                <a:gd name="connsiteY226" fmla="*/ 140840 h 344988"/>
                <a:gd name="connsiteX227" fmla="*/ 72373 w 344587"/>
                <a:gd name="connsiteY227" fmla="*/ 136103 h 344988"/>
                <a:gd name="connsiteX228" fmla="*/ 75929 w 344587"/>
                <a:gd name="connsiteY228" fmla="*/ 132864 h 344988"/>
                <a:gd name="connsiteX229" fmla="*/ 71187 w 344587"/>
                <a:gd name="connsiteY229" fmla="*/ 132007 h 344988"/>
                <a:gd name="connsiteX230" fmla="*/ 265997 w 344587"/>
                <a:gd name="connsiteY230" fmla="*/ 110188 h 344988"/>
                <a:gd name="connsiteX231" fmla="*/ 264803 w 344587"/>
                <a:gd name="connsiteY231" fmla="*/ 114963 h 344988"/>
                <a:gd name="connsiteX232" fmla="*/ 260243 w 344587"/>
                <a:gd name="connsiteY232" fmla="*/ 116665 h 344988"/>
                <a:gd name="connsiteX233" fmla="*/ 264341 w 344587"/>
                <a:gd name="connsiteY233" fmla="*/ 119299 h 344988"/>
                <a:gd name="connsiteX234" fmla="*/ 264558 w 344587"/>
                <a:gd name="connsiteY234" fmla="*/ 124212 h 344988"/>
                <a:gd name="connsiteX235" fmla="*/ 268276 w 344587"/>
                <a:gd name="connsiteY235" fmla="*/ 121083 h 344988"/>
                <a:gd name="connsiteX236" fmla="*/ 272971 w 344587"/>
                <a:gd name="connsiteY236" fmla="*/ 122401 h 344988"/>
                <a:gd name="connsiteX237" fmla="*/ 271180 w 344587"/>
                <a:gd name="connsiteY237" fmla="*/ 117845 h 344988"/>
                <a:gd name="connsiteX238" fmla="*/ 273867 w 344587"/>
                <a:gd name="connsiteY238" fmla="*/ 113756 h 344988"/>
                <a:gd name="connsiteX239" fmla="*/ 269009 w 344587"/>
                <a:gd name="connsiteY239" fmla="*/ 114057 h 344988"/>
                <a:gd name="connsiteX240" fmla="*/ 78590 w 344587"/>
                <a:gd name="connsiteY240" fmla="*/ 110188 h 344988"/>
                <a:gd name="connsiteX241" fmla="*/ 75578 w 344587"/>
                <a:gd name="connsiteY241" fmla="*/ 114057 h 344988"/>
                <a:gd name="connsiteX242" fmla="*/ 70721 w 344587"/>
                <a:gd name="connsiteY242" fmla="*/ 113756 h 344988"/>
                <a:gd name="connsiteX243" fmla="*/ 73407 w 344587"/>
                <a:gd name="connsiteY243" fmla="*/ 117845 h 344988"/>
                <a:gd name="connsiteX244" fmla="*/ 71616 w 344587"/>
                <a:gd name="connsiteY244" fmla="*/ 122401 h 344988"/>
                <a:gd name="connsiteX245" fmla="*/ 76311 w 344587"/>
                <a:gd name="connsiteY245" fmla="*/ 121083 h 344988"/>
                <a:gd name="connsiteX246" fmla="*/ 80029 w 344587"/>
                <a:gd name="connsiteY246" fmla="*/ 124212 h 344988"/>
                <a:gd name="connsiteX247" fmla="*/ 80246 w 344587"/>
                <a:gd name="connsiteY247" fmla="*/ 119299 h 344988"/>
                <a:gd name="connsiteX248" fmla="*/ 84344 w 344587"/>
                <a:gd name="connsiteY248" fmla="*/ 116665 h 344988"/>
                <a:gd name="connsiteX249" fmla="*/ 79785 w 344587"/>
                <a:gd name="connsiteY249" fmla="*/ 114963 h 344988"/>
                <a:gd name="connsiteX250" fmla="*/ 172293 w 344587"/>
                <a:gd name="connsiteY250" fmla="*/ 107507 h 344988"/>
                <a:gd name="connsiteX251" fmla="*/ 164742 w 344587"/>
                <a:gd name="connsiteY251" fmla="*/ 112163 h 344988"/>
                <a:gd name="connsiteX252" fmla="*/ 148477 w 344587"/>
                <a:gd name="connsiteY252" fmla="*/ 145335 h 344988"/>
                <a:gd name="connsiteX253" fmla="*/ 111881 w 344587"/>
                <a:gd name="connsiteY253" fmla="*/ 150766 h 344988"/>
                <a:gd name="connsiteX254" fmla="*/ 104910 w 344587"/>
                <a:gd name="connsiteY254" fmla="*/ 156392 h 344988"/>
                <a:gd name="connsiteX255" fmla="*/ 107234 w 344587"/>
                <a:gd name="connsiteY255" fmla="*/ 165121 h 344988"/>
                <a:gd name="connsiteX256" fmla="*/ 133567 w 344587"/>
                <a:gd name="connsiteY256" fmla="*/ 190922 h 344988"/>
                <a:gd name="connsiteX257" fmla="*/ 127371 w 344587"/>
                <a:gd name="connsiteY257" fmla="*/ 227392 h 344988"/>
                <a:gd name="connsiteX258" fmla="*/ 130663 w 344587"/>
                <a:gd name="connsiteY258" fmla="*/ 235733 h 344988"/>
                <a:gd name="connsiteX259" fmla="*/ 135697 w 344587"/>
                <a:gd name="connsiteY259" fmla="*/ 237479 h 344988"/>
                <a:gd name="connsiteX260" fmla="*/ 139570 w 344587"/>
                <a:gd name="connsiteY260" fmla="*/ 236509 h 344988"/>
                <a:gd name="connsiteX261" fmla="*/ 172293 w 344587"/>
                <a:gd name="connsiteY261" fmla="*/ 219244 h 344988"/>
                <a:gd name="connsiteX262" fmla="*/ 205016 w 344587"/>
                <a:gd name="connsiteY262" fmla="*/ 236509 h 344988"/>
                <a:gd name="connsiteX263" fmla="*/ 209083 w 344587"/>
                <a:gd name="connsiteY263" fmla="*/ 237479 h 344988"/>
                <a:gd name="connsiteX264" fmla="*/ 213923 w 344587"/>
                <a:gd name="connsiteY264" fmla="*/ 235733 h 344988"/>
                <a:gd name="connsiteX265" fmla="*/ 217409 w 344587"/>
                <a:gd name="connsiteY265" fmla="*/ 227392 h 344988"/>
                <a:gd name="connsiteX266" fmla="*/ 211213 w 344587"/>
                <a:gd name="connsiteY266" fmla="*/ 190922 h 344988"/>
                <a:gd name="connsiteX267" fmla="*/ 237546 w 344587"/>
                <a:gd name="connsiteY267" fmla="*/ 165121 h 344988"/>
                <a:gd name="connsiteX268" fmla="*/ 239676 w 344587"/>
                <a:gd name="connsiteY268" fmla="*/ 156392 h 344988"/>
                <a:gd name="connsiteX269" fmla="*/ 232899 w 344587"/>
                <a:gd name="connsiteY269" fmla="*/ 150766 h 344988"/>
                <a:gd name="connsiteX270" fmla="*/ 196303 w 344587"/>
                <a:gd name="connsiteY270" fmla="*/ 145335 h 344988"/>
                <a:gd name="connsiteX271" fmla="*/ 180038 w 344587"/>
                <a:gd name="connsiteY271" fmla="*/ 112163 h 344988"/>
                <a:gd name="connsiteX272" fmla="*/ 172293 w 344587"/>
                <a:gd name="connsiteY272" fmla="*/ 107507 h 344988"/>
                <a:gd name="connsiteX273" fmla="*/ 253771 w 344587"/>
                <a:gd name="connsiteY273" fmla="*/ 94962 h 344988"/>
                <a:gd name="connsiteX274" fmla="*/ 253394 w 344587"/>
                <a:gd name="connsiteY274" fmla="*/ 99795 h 344988"/>
                <a:gd name="connsiteX275" fmla="*/ 249225 w 344587"/>
                <a:gd name="connsiteY275" fmla="*/ 102225 h 344988"/>
                <a:gd name="connsiteX276" fmla="*/ 253690 w 344587"/>
                <a:gd name="connsiteY276" fmla="*/ 104061 h 344988"/>
                <a:gd name="connsiteX277" fmla="*/ 254712 w 344587"/>
                <a:gd name="connsiteY277" fmla="*/ 108785 h 344988"/>
                <a:gd name="connsiteX278" fmla="*/ 257833 w 344587"/>
                <a:gd name="connsiteY278" fmla="*/ 105114 h 344988"/>
                <a:gd name="connsiteX279" fmla="*/ 262648 w 344587"/>
                <a:gd name="connsiteY279" fmla="*/ 105573 h 344988"/>
                <a:gd name="connsiteX280" fmla="*/ 260119 w 344587"/>
                <a:gd name="connsiteY280" fmla="*/ 101469 h 344988"/>
                <a:gd name="connsiteX281" fmla="*/ 262056 w 344587"/>
                <a:gd name="connsiteY281" fmla="*/ 97041 h 344988"/>
                <a:gd name="connsiteX282" fmla="*/ 257348 w 344587"/>
                <a:gd name="connsiteY282" fmla="*/ 98175 h 344988"/>
                <a:gd name="connsiteX283" fmla="*/ 90749 w 344587"/>
                <a:gd name="connsiteY283" fmla="*/ 94962 h 344988"/>
                <a:gd name="connsiteX284" fmla="*/ 87118 w 344587"/>
                <a:gd name="connsiteY284" fmla="*/ 98175 h 344988"/>
                <a:gd name="connsiteX285" fmla="*/ 82340 w 344587"/>
                <a:gd name="connsiteY285" fmla="*/ 97041 h 344988"/>
                <a:gd name="connsiteX286" fmla="*/ 84333 w 344587"/>
                <a:gd name="connsiteY286" fmla="*/ 101469 h 344988"/>
                <a:gd name="connsiteX287" fmla="*/ 81739 w 344587"/>
                <a:gd name="connsiteY287" fmla="*/ 105573 h 344988"/>
                <a:gd name="connsiteX288" fmla="*/ 86626 w 344587"/>
                <a:gd name="connsiteY288" fmla="*/ 105114 h 344988"/>
                <a:gd name="connsiteX289" fmla="*/ 89793 w 344587"/>
                <a:gd name="connsiteY289" fmla="*/ 108785 h 344988"/>
                <a:gd name="connsiteX290" fmla="*/ 90831 w 344587"/>
                <a:gd name="connsiteY290" fmla="*/ 104061 h 344988"/>
                <a:gd name="connsiteX291" fmla="*/ 95363 w 344587"/>
                <a:gd name="connsiteY291" fmla="*/ 102225 h 344988"/>
                <a:gd name="connsiteX292" fmla="*/ 91131 w 344587"/>
                <a:gd name="connsiteY292" fmla="*/ 99795 h 344988"/>
                <a:gd name="connsiteX293" fmla="*/ 239015 w 344587"/>
                <a:gd name="connsiteY293" fmla="*/ 81940 h 344988"/>
                <a:gd name="connsiteX294" fmla="*/ 239501 w 344587"/>
                <a:gd name="connsiteY294" fmla="*/ 86827 h 344988"/>
                <a:gd name="connsiteX295" fmla="*/ 235802 w 344587"/>
                <a:gd name="connsiteY295" fmla="*/ 89993 h 344988"/>
                <a:gd name="connsiteX296" fmla="*/ 240527 w 344587"/>
                <a:gd name="connsiteY296" fmla="*/ 91031 h 344988"/>
                <a:gd name="connsiteX297" fmla="*/ 242363 w 344587"/>
                <a:gd name="connsiteY297" fmla="*/ 95563 h 344988"/>
                <a:gd name="connsiteX298" fmla="*/ 244792 w 344587"/>
                <a:gd name="connsiteY298" fmla="*/ 91331 h 344988"/>
                <a:gd name="connsiteX299" fmla="*/ 249625 w 344587"/>
                <a:gd name="connsiteY299" fmla="*/ 90976 h 344988"/>
                <a:gd name="connsiteX300" fmla="*/ 246413 w 344587"/>
                <a:gd name="connsiteY300" fmla="*/ 87318 h 344988"/>
                <a:gd name="connsiteX301" fmla="*/ 247546 w 344587"/>
                <a:gd name="connsiteY301" fmla="*/ 82568 h 344988"/>
                <a:gd name="connsiteX302" fmla="*/ 243119 w 344587"/>
                <a:gd name="connsiteY302" fmla="*/ 84533 h 344988"/>
                <a:gd name="connsiteX303" fmla="*/ 105372 w 344587"/>
                <a:gd name="connsiteY303" fmla="*/ 81940 h 344988"/>
                <a:gd name="connsiteX304" fmla="*/ 101268 w 344587"/>
                <a:gd name="connsiteY304" fmla="*/ 84533 h 344988"/>
                <a:gd name="connsiteX305" fmla="*/ 96841 w 344587"/>
                <a:gd name="connsiteY305" fmla="*/ 82568 h 344988"/>
                <a:gd name="connsiteX306" fmla="*/ 97975 w 344587"/>
                <a:gd name="connsiteY306" fmla="*/ 87318 h 344988"/>
                <a:gd name="connsiteX307" fmla="*/ 94762 w 344587"/>
                <a:gd name="connsiteY307" fmla="*/ 90976 h 344988"/>
                <a:gd name="connsiteX308" fmla="*/ 99594 w 344587"/>
                <a:gd name="connsiteY308" fmla="*/ 91331 h 344988"/>
                <a:gd name="connsiteX309" fmla="*/ 102024 w 344587"/>
                <a:gd name="connsiteY309" fmla="*/ 95563 h 344988"/>
                <a:gd name="connsiteX310" fmla="*/ 103860 w 344587"/>
                <a:gd name="connsiteY310" fmla="*/ 91031 h 344988"/>
                <a:gd name="connsiteX311" fmla="*/ 108585 w 344587"/>
                <a:gd name="connsiteY311" fmla="*/ 89993 h 344988"/>
                <a:gd name="connsiteX312" fmla="*/ 104886 w 344587"/>
                <a:gd name="connsiteY312" fmla="*/ 86827 h 344988"/>
                <a:gd name="connsiteX313" fmla="*/ 230910 w 344587"/>
                <a:gd name="connsiteY313" fmla="*/ 70720 h 344988"/>
                <a:gd name="connsiteX314" fmla="*/ 226879 w 344587"/>
                <a:gd name="connsiteY314" fmla="*/ 73474 h 344988"/>
                <a:gd name="connsiteX315" fmla="*/ 222361 w 344587"/>
                <a:gd name="connsiteY315" fmla="*/ 71629 h 344988"/>
                <a:gd name="connsiteX316" fmla="*/ 223687 w 344587"/>
                <a:gd name="connsiteY316" fmla="*/ 76393 h 344988"/>
                <a:gd name="connsiteX317" fmla="*/ 220576 w 344587"/>
                <a:gd name="connsiteY317" fmla="*/ 80193 h 344988"/>
                <a:gd name="connsiteX318" fmla="*/ 225418 w 344587"/>
                <a:gd name="connsiteY318" fmla="*/ 80386 h 344988"/>
                <a:gd name="connsiteX319" fmla="*/ 228015 w 344587"/>
                <a:gd name="connsiteY319" fmla="*/ 84544 h 344988"/>
                <a:gd name="connsiteX320" fmla="*/ 229692 w 344587"/>
                <a:gd name="connsiteY320" fmla="*/ 79918 h 344988"/>
                <a:gd name="connsiteX321" fmla="*/ 234399 w 344587"/>
                <a:gd name="connsiteY321" fmla="*/ 78706 h 344988"/>
                <a:gd name="connsiteX322" fmla="*/ 230585 w 344587"/>
                <a:gd name="connsiteY322" fmla="*/ 75650 h 344988"/>
                <a:gd name="connsiteX323" fmla="*/ 113678 w 344587"/>
                <a:gd name="connsiteY323" fmla="*/ 70720 h 344988"/>
                <a:gd name="connsiteX324" fmla="*/ 114002 w 344587"/>
                <a:gd name="connsiteY324" fmla="*/ 75650 h 344988"/>
                <a:gd name="connsiteX325" fmla="*/ 110188 w 344587"/>
                <a:gd name="connsiteY325" fmla="*/ 78706 h 344988"/>
                <a:gd name="connsiteX326" fmla="*/ 114895 w 344587"/>
                <a:gd name="connsiteY326" fmla="*/ 79918 h 344988"/>
                <a:gd name="connsiteX327" fmla="*/ 116572 w 344587"/>
                <a:gd name="connsiteY327" fmla="*/ 84544 h 344988"/>
                <a:gd name="connsiteX328" fmla="*/ 119169 w 344587"/>
                <a:gd name="connsiteY328" fmla="*/ 80386 h 344988"/>
                <a:gd name="connsiteX329" fmla="*/ 124011 w 344587"/>
                <a:gd name="connsiteY329" fmla="*/ 80193 h 344988"/>
                <a:gd name="connsiteX330" fmla="*/ 120900 w 344587"/>
                <a:gd name="connsiteY330" fmla="*/ 76393 h 344988"/>
                <a:gd name="connsiteX331" fmla="*/ 122226 w 344587"/>
                <a:gd name="connsiteY331" fmla="*/ 71629 h 344988"/>
                <a:gd name="connsiteX332" fmla="*/ 117708 w 344587"/>
                <a:gd name="connsiteY332" fmla="*/ 73474 h 344988"/>
                <a:gd name="connsiteX333" fmla="*/ 212334 w 344587"/>
                <a:gd name="connsiteY333" fmla="*/ 62106 h 344988"/>
                <a:gd name="connsiteX334" fmla="*/ 208828 w 344587"/>
                <a:gd name="connsiteY334" fmla="*/ 65489 h 344988"/>
                <a:gd name="connsiteX335" fmla="*/ 204046 w 344587"/>
                <a:gd name="connsiteY335" fmla="*/ 64507 h 344988"/>
                <a:gd name="connsiteX336" fmla="*/ 206165 w 344587"/>
                <a:gd name="connsiteY336" fmla="*/ 68900 h 344988"/>
                <a:gd name="connsiteX337" fmla="*/ 203747 w 344587"/>
                <a:gd name="connsiteY337" fmla="*/ 73156 h 344988"/>
                <a:gd name="connsiteX338" fmla="*/ 208584 w 344587"/>
                <a:gd name="connsiteY338" fmla="*/ 72501 h 344988"/>
                <a:gd name="connsiteX339" fmla="*/ 211844 w 344587"/>
                <a:gd name="connsiteY339" fmla="*/ 76130 h 344988"/>
                <a:gd name="connsiteX340" fmla="*/ 212714 w 344587"/>
                <a:gd name="connsiteY340" fmla="*/ 71301 h 344988"/>
                <a:gd name="connsiteX341" fmla="*/ 217170 w 344587"/>
                <a:gd name="connsiteY341" fmla="*/ 69282 h 344988"/>
                <a:gd name="connsiteX342" fmla="*/ 212877 w 344587"/>
                <a:gd name="connsiteY342" fmla="*/ 66962 h 344988"/>
                <a:gd name="connsiteX343" fmla="*/ 132182 w 344587"/>
                <a:gd name="connsiteY343" fmla="*/ 62106 h 344988"/>
                <a:gd name="connsiteX344" fmla="*/ 131646 w 344587"/>
                <a:gd name="connsiteY344" fmla="*/ 66962 h 344988"/>
                <a:gd name="connsiteX345" fmla="*/ 127417 w 344587"/>
                <a:gd name="connsiteY345" fmla="*/ 69282 h 344988"/>
                <a:gd name="connsiteX346" fmla="*/ 131807 w 344587"/>
                <a:gd name="connsiteY346" fmla="*/ 71301 h 344988"/>
                <a:gd name="connsiteX347" fmla="*/ 132663 w 344587"/>
                <a:gd name="connsiteY347" fmla="*/ 76130 h 344988"/>
                <a:gd name="connsiteX348" fmla="*/ 135875 w 344587"/>
                <a:gd name="connsiteY348" fmla="*/ 72501 h 344988"/>
                <a:gd name="connsiteX349" fmla="*/ 140640 w 344587"/>
                <a:gd name="connsiteY349" fmla="*/ 73156 h 344988"/>
                <a:gd name="connsiteX350" fmla="*/ 138258 w 344587"/>
                <a:gd name="connsiteY350" fmla="*/ 68900 h 344988"/>
                <a:gd name="connsiteX351" fmla="*/ 140345 w 344587"/>
                <a:gd name="connsiteY351" fmla="*/ 64507 h 344988"/>
                <a:gd name="connsiteX352" fmla="*/ 135635 w 344587"/>
                <a:gd name="connsiteY352" fmla="*/ 65489 h 344988"/>
                <a:gd name="connsiteX353" fmla="*/ 192615 w 344587"/>
                <a:gd name="connsiteY353" fmla="*/ 56897 h 344988"/>
                <a:gd name="connsiteX354" fmla="*/ 189761 w 344587"/>
                <a:gd name="connsiteY354" fmla="*/ 60835 h 344988"/>
                <a:gd name="connsiteX355" fmla="*/ 184915 w 344587"/>
                <a:gd name="connsiteY355" fmla="*/ 60672 h 344988"/>
                <a:gd name="connsiteX356" fmla="*/ 187742 w 344587"/>
                <a:gd name="connsiteY356" fmla="*/ 64637 h 344988"/>
                <a:gd name="connsiteX357" fmla="*/ 186127 w 344587"/>
                <a:gd name="connsiteY357" fmla="*/ 69227 h 344988"/>
                <a:gd name="connsiteX358" fmla="*/ 190704 w 344587"/>
                <a:gd name="connsiteY358" fmla="*/ 67733 h 344988"/>
                <a:gd name="connsiteX359" fmla="*/ 194527 w 344587"/>
                <a:gd name="connsiteY359" fmla="*/ 70720 h 344988"/>
                <a:gd name="connsiteX360" fmla="*/ 194554 w 344587"/>
                <a:gd name="connsiteY360" fmla="*/ 65832 h 344988"/>
                <a:gd name="connsiteX361" fmla="*/ 198538 w 344587"/>
                <a:gd name="connsiteY361" fmla="*/ 63089 h 344988"/>
                <a:gd name="connsiteX362" fmla="*/ 193961 w 344587"/>
                <a:gd name="connsiteY362" fmla="*/ 61568 h 344988"/>
                <a:gd name="connsiteX363" fmla="*/ 151859 w 344587"/>
                <a:gd name="connsiteY363" fmla="*/ 56897 h 344988"/>
                <a:gd name="connsiteX364" fmla="*/ 150493 w 344587"/>
                <a:gd name="connsiteY364" fmla="*/ 61568 h 344988"/>
                <a:gd name="connsiteX365" fmla="*/ 145849 w 344587"/>
                <a:gd name="connsiteY365" fmla="*/ 63089 h 344988"/>
                <a:gd name="connsiteX366" fmla="*/ 149892 w 344587"/>
                <a:gd name="connsiteY366" fmla="*/ 65832 h 344988"/>
                <a:gd name="connsiteX367" fmla="*/ 149919 w 344587"/>
                <a:gd name="connsiteY367" fmla="*/ 70720 h 344988"/>
                <a:gd name="connsiteX368" fmla="*/ 153798 w 344587"/>
                <a:gd name="connsiteY368" fmla="*/ 67733 h 344988"/>
                <a:gd name="connsiteX369" fmla="*/ 158443 w 344587"/>
                <a:gd name="connsiteY369" fmla="*/ 69227 h 344988"/>
                <a:gd name="connsiteX370" fmla="*/ 156804 w 344587"/>
                <a:gd name="connsiteY370" fmla="*/ 64637 h 344988"/>
                <a:gd name="connsiteX371" fmla="*/ 159672 w 344587"/>
                <a:gd name="connsiteY371" fmla="*/ 60672 h 344988"/>
                <a:gd name="connsiteX372" fmla="*/ 154755 w 344587"/>
                <a:gd name="connsiteY372" fmla="*/ 60835 h 344988"/>
                <a:gd name="connsiteX373" fmla="*/ 172307 w 344587"/>
                <a:gd name="connsiteY373" fmla="*/ 55094 h 344988"/>
                <a:gd name="connsiteX374" fmla="*/ 170121 w 344587"/>
                <a:gd name="connsiteY374" fmla="*/ 59447 h 344988"/>
                <a:gd name="connsiteX375" fmla="*/ 165282 w 344587"/>
                <a:gd name="connsiteY375" fmla="*/ 60150 h 344988"/>
                <a:gd name="connsiteX376" fmla="*/ 168781 w 344587"/>
                <a:gd name="connsiteY376" fmla="*/ 63530 h 344988"/>
                <a:gd name="connsiteX377" fmla="*/ 167961 w 344587"/>
                <a:gd name="connsiteY377" fmla="*/ 68316 h 344988"/>
                <a:gd name="connsiteX378" fmla="*/ 172307 w 344587"/>
                <a:gd name="connsiteY378" fmla="*/ 66045 h 344988"/>
                <a:gd name="connsiteX379" fmla="*/ 176627 w 344587"/>
                <a:gd name="connsiteY379" fmla="*/ 68316 h 344988"/>
                <a:gd name="connsiteX380" fmla="*/ 175806 w 344587"/>
                <a:gd name="connsiteY380" fmla="*/ 63530 h 344988"/>
                <a:gd name="connsiteX381" fmla="*/ 179306 w 344587"/>
                <a:gd name="connsiteY381" fmla="*/ 60150 h 344988"/>
                <a:gd name="connsiteX382" fmla="*/ 174467 w 344587"/>
                <a:gd name="connsiteY382" fmla="*/ 59447 h 344988"/>
                <a:gd name="connsiteX383" fmla="*/ 171615 w 344587"/>
                <a:gd name="connsiteY383" fmla="*/ 48293 h 344988"/>
                <a:gd name="connsiteX384" fmla="*/ 293719 w 344587"/>
                <a:gd name="connsiteY384" fmla="*/ 170398 h 344988"/>
                <a:gd name="connsiteX385" fmla="*/ 171615 w 344587"/>
                <a:gd name="connsiteY385" fmla="*/ 292503 h 344988"/>
                <a:gd name="connsiteX386" fmla="*/ 49510 w 344587"/>
                <a:gd name="connsiteY386" fmla="*/ 170398 h 344988"/>
                <a:gd name="connsiteX387" fmla="*/ 171615 w 344587"/>
                <a:gd name="connsiteY387" fmla="*/ 48293 h 344988"/>
                <a:gd name="connsiteX388" fmla="*/ 171615 w 344587"/>
                <a:gd name="connsiteY388" fmla="*/ 34348 h 344988"/>
                <a:gd name="connsiteX389" fmla="*/ 35565 w 344587"/>
                <a:gd name="connsiteY389" fmla="*/ 170398 h 344988"/>
                <a:gd name="connsiteX390" fmla="*/ 171615 w 344587"/>
                <a:gd name="connsiteY390" fmla="*/ 306448 h 344988"/>
                <a:gd name="connsiteX391" fmla="*/ 307665 w 344587"/>
                <a:gd name="connsiteY391" fmla="*/ 170398 h 344988"/>
                <a:gd name="connsiteX392" fmla="*/ 171615 w 344587"/>
                <a:gd name="connsiteY392" fmla="*/ 34348 h 344988"/>
                <a:gd name="connsiteX393" fmla="*/ 172307 w 344587"/>
                <a:gd name="connsiteY393" fmla="*/ 0 h 344988"/>
                <a:gd name="connsiteX394" fmla="*/ 212700 w 344587"/>
                <a:gd name="connsiteY394" fmla="*/ 21468 h 344988"/>
                <a:gd name="connsiteX395" fmla="*/ 258434 w 344587"/>
                <a:gd name="connsiteY395" fmla="*/ 23124 h 344988"/>
                <a:gd name="connsiteX396" fmla="*/ 282724 w 344587"/>
                <a:gd name="connsiteY396" fmla="*/ 61936 h 344988"/>
                <a:gd name="connsiteX397" fmla="*/ 321490 w 344587"/>
                <a:gd name="connsiteY397" fmla="*/ 86254 h 344988"/>
                <a:gd name="connsiteX398" fmla="*/ 323144 w 344587"/>
                <a:gd name="connsiteY398" fmla="*/ 132040 h 344988"/>
                <a:gd name="connsiteX399" fmla="*/ 344587 w 344587"/>
                <a:gd name="connsiteY399" fmla="*/ 172508 h 344988"/>
                <a:gd name="connsiteX400" fmla="*/ 323144 w 344587"/>
                <a:gd name="connsiteY400" fmla="*/ 212975 h 344988"/>
                <a:gd name="connsiteX401" fmla="*/ 321490 w 344587"/>
                <a:gd name="connsiteY401" fmla="*/ 258734 h 344988"/>
                <a:gd name="connsiteX402" fmla="*/ 282724 w 344587"/>
                <a:gd name="connsiteY402" fmla="*/ 283052 h 344988"/>
                <a:gd name="connsiteX403" fmla="*/ 258434 w 344587"/>
                <a:gd name="connsiteY403" fmla="*/ 321891 h 344988"/>
                <a:gd name="connsiteX404" fmla="*/ 212700 w 344587"/>
                <a:gd name="connsiteY404" fmla="*/ 323520 h 344988"/>
                <a:gd name="connsiteX405" fmla="*/ 172307 w 344587"/>
                <a:gd name="connsiteY405" fmla="*/ 344988 h 344988"/>
                <a:gd name="connsiteX406" fmla="*/ 131887 w 344587"/>
                <a:gd name="connsiteY406" fmla="*/ 323520 h 344988"/>
                <a:gd name="connsiteX407" fmla="*/ 86154 w 344587"/>
                <a:gd name="connsiteY407" fmla="*/ 321891 h 344988"/>
                <a:gd name="connsiteX408" fmla="*/ 61864 w 344587"/>
                <a:gd name="connsiteY408" fmla="*/ 283052 h 344988"/>
                <a:gd name="connsiteX409" fmla="*/ 23097 w 344587"/>
                <a:gd name="connsiteY409" fmla="*/ 258734 h 344988"/>
                <a:gd name="connsiteX410" fmla="*/ 21444 w 344587"/>
                <a:gd name="connsiteY410" fmla="*/ 212975 h 344988"/>
                <a:gd name="connsiteX411" fmla="*/ 0 w 344587"/>
                <a:gd name="connsiteY411" fmla="*/ 172508 h 344988"/>
                <a:gd name="connsiteX412" fmla="*/ 21444 w 344587"/>
                <a:gd name="connsiteY412" fmla="*/ 132040 h 344988"/>
                <a:gd name="connsiteX413" fmla="*/ 23097 w 344587"/>
                <a:gd name="connsiteY413" fmla="*/ 86254 h 344988"/>
                <a:gd name="connsiteX414" fmla="*/ 61864 w 344587"/>
                <a:gd name="connsiteY414" fmla="*/ 61936 h 344988"/>
                <a:gd name="connsiteX415" fmla="*/ 86154 w 344587"/>
                <a:gd name="connsiteY415" fmla="*/ 23124 h 344988"/>
                <a:gd name="connsiteX416" fmla="*/ 131887 w 344587"/>
                <a:gd name="connsiteY416" fmla="*/ 21468 h 344988"/>
                <a:gd name="connsiteX417" fmla="*/ 172307 w 344587"/>
                <a:gd name="connsiteY417" fmla="*/ 0 h 34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44587" h="344988">
                  <a:moveTo>
                    <a:pt x="167961" y="276672"/>
                  </a:moveTo>
                  <a:lnTo>
                    <a:pt x="168781" y="281441"/>
                  </a:lnTo>
                  <a:lnTo>
                    <a:pt x="165282" y="284827"/>
                  </a:lnTo>
                  <a:lnTo>
                    <a:pt x="170121" y="285532"/>
                  </a:lnTo>
                  <a:lnTo>
                    <a:pt x="172307" y="289894"/>
                  </a:lnTo>
                  <a:lnTo>
                    <a:pt x="174467" y="285532"/>
                  </a:lnTo>
                  <a:lnTo>
                    <a:pt x="179306" y="284827"/>
                  </a:lnTo>
                  <a:lnTo>
                    <a:pt x="175806" y="281441"/>
                  </a:lnTo>
                  <a:lnTo>
                    <a:pt x="176627" y="276672"/>
                  </a:lnTo>
                  <a:lnTo>
                    <a:pt x="172307" y="278921"/>
                  </a:lnTo>
                  <a:close/>
                  <a:moveTo>
                    <a:pt x="194527" y="274468"/>
                  </a:moveTo>
                  <a:lnTo>
                    <a:pt x="190704" y="277391"/>
                  </a:lnTo>
                  <a:lnTo>
                    <a:pt x="186127" y="275943"/>
                  </a:lnTo>
                  <a:lnTo>
                    <a:pt x="187742" y="280475"/>
                  </a:lnTo>
                  <a:lnTo>
                    <a:pt x="184915" y="284363"/>
                  </a:lnTo>
                  <a:lnTo>
                    <a:pt x="189761" y="284229"/>
                  </a:lnTo>
                  <a:lnTo>
                    <a:pt x="192615" y="288091"/>
                  </a:lnTo>
                  <a:lnTo>
                    <a:pt x="193961" y="283479"/>
                  </a:lnTo>
                  <a:lnTo>
                    <a:pt x="198538" y="281977"/>
                  </a:lnTo>
                  <a:lnTo>
                    <a:pt x="194554" y="279268"/>
                  </a:lnTo>
                  <a:close/>
                  <a:moveTo>
                    <a:pt x="149919" y="274468"/>
                  </a:moveTo>
                  <a:lnTo>
                    <a:pt x="149892" y="279268"/>
                  </a:lnTo>
                  <a:lnTo>
                    <a:pt x="145849" y="281977"/>
                  </a:lnTo>
                  <a:lnTo>
                    <a:pt x="150493" y="283479"/>
                  </a:lnTo>
                  <a:lnTo>
                    <a:pt x="151859" y="288091"/>
                  </a:lnTo>
                  <a:lnTo>
                    <a:pt x="154755" y="284229"/>
                  </a:lnTo>
                  <a:lnTo>
                    <a:pt x="159672" y="284363"/>
                  </a:lnTo>
                  <a:lnTo>
                    <a:pt x="156804" y="280475"/>
                  </a:lnTo>
                  <a:lnTo>
                    <a:pt x="158443" y="275943"/>
                  </a:lnTo>
                  <a:lnTo>
                    <a:pt x="153798" y="277391"/>
                  </a:lnTo>
                  <a:close/>
                  <a:moveTo>
                    <a:pt x="211844" y="268858"/>
                  </a:moveTo>
                  <a:lnTo>
                    <a:pt x="208584" y="272467"/>
                  </a:lnTo>
                  <a:lnTo>
                    <a:pt x="203747" y="271811"/>
                  </a:lnTo>
                  <a:lnTo>
                    <a:pt x="206165" y="276075"/>
                  </a:lnTo>
                  <a:lnTo>
                    <a:pt x="204046" y="280504"/>
                  </a:lnTo>
                  <a:lnTo>
                    <a:pt x="208828" y="279492"/>
                  </a:lnTo>
                  <a:lnTo>
                    <a:pt x="212334" y="282882"/>
                  </a:lnTo>
                  <a:lnTo>
                    <a:pt x="212877" y="278016"/>
                  </a:lnTo>
                  <a:lnTo>
                    <a:pt x="217170" y="275693"/>
                  </a:lnTo>
                  <a:lnTo>
                    <a:pt x="212714" y="273670"/>
                  </a:lnTo>
                  <a:close/>
                  <a:moveTo>
                    <a:pt x="132663" y="268858"/>
                  </a:moveTo>
                  <a:lnTo>
                    <a:pt x="131807" y="273670"/>
                  </a:lnTo>
                  <a:lnTo>
                    <a:pt x="127417" y="275693"/>
                  </a:lnTo>
                  <a:lnTo>
                    <a:pt x="131646" y="278016"/>
                  </a:lnTo>
                  <a:lnTo>
                    <a:pt x="132182" y="282882"/>
                  </a:lnTo>
                  <a:lnTo>
                    <a:pt x="135635" y="279492"/>
                  </a:lnTo>
                  <a:lnTo>
                    <a:pt x="140345" y="280504"/>
                  </a:lnTo>
                  <a:lnTo>
                    <a:pt x="138258" y="276075"/>
                  </a:lnTo>
                  <a:lnTo>
                    <a:pt x="140640" y="271811"/>
                  </a:lnTo>
                  <a:lnTo>
                    <a:pt x="135875" y="272467"/>
                  </a:lnTo>
                  <a:close/>
                  <a:moveTo>
                    <a:pt x="228015" y="260644"/>
                  </a:moveTo>
                  <a:lnTo>
                    <a:pt x="225418" y="264769"/>
                  </a:lnTo>
                  <a:lnTo>
                    <a:pt x="220576" y="264959"/>
                  </a:lnTo>
                  <a:lnTo>
                    <a:pt x="223687" y="268704"/>
                  </a:lnTo>
                  <a:lnTo>
                    <a:pt x="222361" y="273372"/>
                  </a:lnTo>
                  <a:lnTo>
                    <a:pt x="226879" y="271581"/>
                  </a:lnTo>
                  <a:lnTo>
                    <a:pt x="230910" y="274268"/>
                  </a:lnTo>
                  <a:lnTo>
                    <a:pt x="230585" y="269410"/>
                  </a:lnTo>
                  <a:lnTo>
                    <a:pt x="234399" y="266398"/>
                  </a:lnTo>
                  <a:lnTo>
                    <a:pt x="229692" y="265204"/>
                  </a:lnTo>
                  <a:close/>
                  <a:moveTo>
                    <a:pt x="116572" y="260644"/>
                  </a:moveTo>
                  <a:lnTo>
                    <a:pt x="114895" y="265204"/>
                  </a:lnTo>
                  <a:lnTo>
                    <a:pt x="110188" y="266398"/>
                  </a:lnTo>
                  <a:lnTo>
                    <a:pt x="114002" y="269410"/>
                  </a:lnTo>
                  <a:lnTo>
                    <a:pt x="113678" y="274268"/>
                  </a:lnTo>
                  <a:lnTo>
                    <a:pt x="117708" y="271581"/>
                  </a:lnTo>
                  <a:lnTo>
                    <a:pt x="122226" y="273372"/>
                  </a:lnTo>
                  <a:lnTo>
                    <a:pt x="120900" y="268704"/>
                  </a:lnTo>
                  <a:lnTo>
                    <a:pt x="124011" y="264959"/>
                  </a:lnTo>
                  <a:lnTo>
                    <a:pt x="119169" y="264769"/>
                  </a:lnTo>
                  <a:close/>
                  <a:moveTo>
                    <a:pt x="242363" y="249625"/>
                  </a:moveTo>
                  <a:lnTo>
                    <a:pt x="240527" y="254100"/>
                  </a:lnTo>
                  <a:lnTo>
                    <a:pt x="235802" y="255124"/>
                  </a:lnTo>
                  <a:lnTo>
                    <a:pt x="239501" y="258251"/>
                  </a:lnTo>
                  <a:lnTo>
                    <a:pt x="239015" y="263048"/>
                  </a:lnTo>
                  <a:lnTo>
                    <a:pt x="243119" y="260515"/>
                  </a:lnTo>
                  <a:lnTo>
                    <a:pt x="247546" y="262455"/>
                  </a:lnTo>
                  <a:lnTo>
                    <a:pt x="246413" y="257766"/>
                  </a:lnTo>
                  <a:lnTo>
                    <a:pt x="249625" y="254154"/>
                  </a:lnTo>
                  <a:lnTo>
                    <a:pt x="244792" y="253776"/>
                  </a:lnTo>
                  <a:close/>
                  <a:moveTo>
                    <a:pt x="102024" y="249625"/>
                  </a:moveTo>
                  <a:lnTo>
                    <a:pt x="99594" y="253776"/>
                  </a:lnTo>
                  <a:lnTo>
                    <a:pt x="94762" y="254154"/>
                  </a:lnTo>
                  <a:lnTo>
                    <a:pt x="97975" y="257766"/>
                  </a:lnTo>
                  <a:lnTo>
                    <a:pt x="96841" y="262455"/>
                  </a:lnTo>
                  <a:lnTo>
                    <a:pt x="101268" y="260515"/>
                  </a:lnTo>
                  <a:lnTo>
                    <a:pt x="105372" y="263048"/>
                  </a:lnTo>
                  <a:lnTo>
                    <a:pt x="104886" y="258251"/>
                  </a:lnTo>
                  <a:lnTo>
                    <a:pt x="108585" y="255124"/>
                  </a:lnTo>
                  <a:lnTo>
                    <a:pt x="103860" y="254100"/>
                  </a:lnTo>
                  <a:close/>
                  <a:moveTo>
                    <a:pt x="254712" y="236203"/>
                  </a:moveTo>
                  <a:lnTo>
                    <a:pt x="253690" y="240928"/>
                  </a:lnTo>
                  <a:lnTo>
                    <a:pt x="249225" y="242764"/>
                  </a:lnTo>
                  <a:lnTo>
                    <a:pt x="253394" y="245220"/>
                  </a:lnTo>
                  <a:lnTo>
                    <a:pt x="253771" y="250026"/>
                  </a:lnTo>
                  <a:lnTo>
                    <a:pt x="257348" y="246813"/>
                  </a:lnTo>
                  <a:lnTo>
                    <a:pt x="262056" y="247974"/>
                  </a:lnTo>
                  <a:lnTo>
                    <a:pt x="260119" y="243520"/>
                  </a:lnTo>
                  <a:lnTo>
                    <a:pt x="262648" y="239416"/>
                  </a:lnTo>
                  <a:lnTo>
                    <a:pt x="257833" y="239902"/>
                  </a:lnTo>
                  <a:close/>
                  <a:moveTo>
                    <a:pt x="89793" y="236203"/>
                  </a:moveTo>
                  <a:lnTo>
                    <a:pt x="86626" y="239902"/>
                  </a:lnTo>
                  <a:lnTo>
                    <a:pt x="81739" y="239416"/>
                  </a:lnTo>
                  <a:lnTo>
                    <a:pt x="84333" y="243520"/>
                  </a:lnTo>
                  <a:lnTo>
                    <a:pt x="82340" y="247974"/>
                  </a:lnTo>
                  <a:lnTo>
                    <a:pt x="87118" y="246813"/>
                  </a:lnTo>
                  <a:lnTo>
                    <a:pt x="90749" y="250026"/>
                  </a:lnTo>
                  <a:lnTo>
                    <a:pt x="91131" y="245220"/>
                  </a:lnTo>
                  <a:lnTo>
                    <a:pt x="95363" y="242764"/>
                  </a:lnTo>
                  <a:lnTo>
                    <a:pt x="90831" y="240928"/>
                  </a:lnTo>
                  <a:close/>
                  <a:moveTo>
                    <a:pt x="264558" y="220977"/>
                  </a:moveTo>
                  <a:lnTo>
                    <a:pt x="264341" y="225819"/>
                  </a:lnTo>
                  <a:lnTo>
                    <a:pt x="260243" y="228416"/>
                  </a:lnTo>
                  <a:lnTo>
                    <a:pt x="264803" y="230093"/>
                  </a:lnTo>
                  <a:lnTo>
                    <a:pt x="265997" y="234800"/>
                  </a:lnTo>
                  <a:lnTo>
                    <a:pt x="269009" y="230986"/>
                  </a:lnTo>
                  <a:lnTo>
                    <a:pt x="273867" y="231311"/>
                  </a:lnTo>
                  <a:lnTo>
                    <a:pt x="271180" y="227280"/>
                  </a:lnTo>
                  <a:lnTo>
                    <a:pt x="272971" y="222762"/>
                  </a:lnTo>
                  <a:lnTo>
                    <a:pt x="268276" y="224088"/>
                  </a:lnTo>
                  <a:close/>
                  <a:moveTo>
                    <a:pt x="80029" y="220977"/>
                  </a:moveTo>
                  <a:lnTo>
                    <a:pt x="76311" y="224088"/>
                  </a:lnTo>
                  <a:lnTo>
                    <a:pt x="71616" y="222762"/>
                  </a:lnTo>
                  <a:lnTo>
                    <a:pt x="73407" y="227280"/>
                  </a:lnTo>
                  <a:lnTo>
                    <a:pt x="70721" y="231311"/>
                  </a:lnTo>
                  <a:lnTo>
                    <a:pt x="75578" y="230986"/>
                  </a:lnTo>
                  <a:lnTo>
                    <a:pt x="78590" y="234800"/>
                  </a:lnTo>
                  <a:lnTo>
                    <a:pt x="79785" y="230093"/>
                  </a:lnTo>
                  <a:lnTo>
                    <a:pt x="84344" y="228416"/>
                  </a:lnTo>
                  <a:lnTo>
                    <a:pt x="80246" y="225819"/>
                  </a:lnTo>
                  <a:close/>
                  <a:moveTo>
                    <a:pt x="271410" y="204148"/>
                  </a:moveTo>
                  <a:lnTo>
                    <a:pt x="272066" y="208985"/>
                  </a:lnTo>
                  <a:lnTo>
                    <a:pt x="268457" y="212245"/>
                  </a:lnTo>
                  <a:lnTo>
                    <a:pt x="273269" y="213115"/>
                  </a:lnTo>
                  <a:lnTo>
                    <a:pt x="275292" y="217571"/>
                  </a:lnTo>
                  <a:lnTo>
                    <a:pt x="277615" y="213278"/>
                  </a:lnTo>
                  <a:lnTo>
                    <a:pt x="282481" y="212734"/>
                  </a:lnTo>
                  <a:lnTo>
                    <a:pt x="279091" y="209229"/>
                  </a:lnTo>
                  <a:lnTo>
                    <a:pt x="280076" y="204447"/>
                  </a:lnTo>
                  <a:lnTo>
                    <a:pt x="275674" y="206566"/>
                  </a:lnTo>
                  <a:close/>
                  <a:moveTo>
                    <a:pt x="73019" y="204148"/>
                  </a:moveTo>
                  <a:lnTo>
                    <a:pt x="68816" y="206566"/>
                  </a:lnTo>
                  <a:lnTo>
                    <a:pt x="64477" y="204447"/>
                  </a:lnTo>
                  <a:lnTo>
                    <a:pt x="65447" y="209229"/>
                  </a:lnTo>
                  <a:lnTo>
                    <a:pt x="62106" y="212734"/>
                  </a:lnTo>
                  <a:lnTo>
                    <a:pt x="66903" y="213278"/>
                  </a:lnTo>
                  <a:lnTo>
                    <a:pt x="69193" y="217571"/>
                  </a:lnTo>
                  <a:lnTo>
                    <a:pt x="71187" y="213115"/>
                  </a:lnTo>
                  <a:lnTo>
                    <a:pt x="75929" y="212245"/>
                  </a:lnTo>
                  <a:lnTo>
                    <a:pt x="72373" y="208985"/>
                  </a:lnTo>
                  <a:close/>
                  <a:moveTo>
                    <a:pt x="283915" y="185116"/>
                  </a:moveTo>
                  <a:lnTo>
                    <a:pt x="279950" y="187963"/>
                  </a:lnTo>
                  <a:lnTo>
                    <a:pt x="275388" y="186320"/>
                  </a:lnTo>
                  <a:lnTo>
                    <a:pt x="276854" y="191001"/>
                  </a:lnTo>
                  <a:lnTo>
                    <a:pt x="273867" y="194861"/>
                  </a:lnTo>
                  <a:lnTo>
                    <a:pt x="278755" y="194888"/>
                  </a:lnTo>
                  <a:lnTo>
                    <a:pt x="281498" y="198939"/>
                  </a:lnTo>
                  <a:lnTo>
                    <a:pt x="283019" y="194286"/>
                  </a:lnTo>
                  <a:lnTo>
                    <a:pt x="287690" y="192917"/>
                  </a:lnTo>
                  <a:lnTo>
                    <a:pt x="283780" y="190015"/>
                  </a:lnTo>
                  <a:close/>
                  <a:moveTo>
                    <a:pt x="60472" y="185116"/>
                  </a:moveTo>
                  <a:lnTo>
                    <a:pt x="60608" y="190015"/>
                  </a:lnTo>
                  <a:lnTo>
                    <a:pt x="56697" y="192917"/>
                  </a:lnTo>
                  <a:lnTo>
                    <a:pt x="61368" y="194286"/>
                  </a:lnTo>
                  <a:lnTo>
                    <a:pt x="62889" y="198939"/>
                  </a:lnTo>
                  <a:lnTo>
                    <a:pt x="65632" y="194888"/>
                  </a:lnTo>
                  <a:lnTo>
                    <a:pt x="70520" y="194861"/>
                  </a:lnTo>
                  <a:lnTo>
                    <a:pt x="67533" y="191001"/>
                  </a:lnTo>
                  <a:lnTo>
                    <a:pt x="68999" y="186320"/>
                  </a:lnTo>
                  <a:lnTo>
                    <a:pt x="64437" y="187963"/>
                  </a:lnTo>
                  <a:close/>
                  <a:moveTo>
                    <a:pt x="284437" y="165482"/>
                  </a:moveTo>
                  <a:lnTo>
                    <a:pt x="281057" y="168981"/>
                  </a:lnTo>
                  <a:lnTo>
                    <a:pt x="276271" y="168161"/>
                  </a:lnTo>
                  <a:lnTo>
                    <a:pt x="278542" y="172508"/>
                  </a:lnTo>
                  <a:lnTo>
                    <a:pt x="276271" y="176827"/>
                  </a:lnTo>
                  <a:lnTo>
                    <a:pt x="281057" y="176007"/>
                  </a:lnTo>
                  <a:lnTo>
                    <a:pt x="284437" y="179506"/>
                  </a:lnTo>
                  <a:lnTo>
                    <a:pt x="285140" y="174667"/>
                  </a:lnTo>
                  <a:lnTo>
                    <a:pt x="289493" y="172508"/>
                  </a:lnTo>
                  <a:lnTo>
                    <a:pt x="285140" y="170321"/>
                  </a:lnTo>
                  <a:close/>
                  <a:moveTo>
                    <a:pt x="60027" y="165482"/>
                  </a:moveTo>
                  <a:lnTo>
                    <a:pt x="59313" y="170321"/>
                  </a:lnTo>
                  <a:lnTo>
                    <a:pt x="54894" y="172508"/>
                  </a:lnTo>
                  <a:lnTo>
                    <a:pt x="59313" y="174667"/>
                  </a:lnTo>
                  <a:lnTo>
                    <a:pt x="60027" y="179506"/>
                  </a:lnTo>
                  <a:lnTo>
                    <a:pt x="63458" y="176007"/>
                  </a:lnTo>
                  <a:lnTo>
                    <a:pt x="68317" y="176827"/>
                  </a:lnTo>
                  <a:lnTo>
                    <a:pt x="66011" y="172508"/>
                  </a:lnTo>
                  <a:lnTo>
                    <a:pt x="68317" y="168161"/>
                  </a:lnTo>
                  <a:lnTo>
                    <a:pt x="63458" y="168981"/>
                  </a:lnTo>
                  <a:close/>
                  <a:moveTo>
                    <a:pt x="281498" y="146049"/>
                  </a:moveTo>
                  <a:lnTo>
                    <a:pt x="278755" y="150092"/>
                  </a:lnTo>
                  <a:lnTo>
                    <a:pt x="273867" y="150120"/>
                  </a:lnTo>
                  <a:lnTo>
                    <a:pt x="276854" y="153999"/>
                  </a:lnTo>
                  <a:lnTo>
                    <a:pt x="275388" y="158670"/>
                  </a:lnTo>
                  <a:lnTo>
                    <a:pt x="279950" y="157004"/>
                  </a:lnTo>
                  <a:lnTo>
                    <a:pt x="283915" y="159872"/>
                  </a:lnTo>
                  <a:lnTo>
                    <a:pt x="283780" y="154955"/>
                  </a:lnTo>
                  <a:lnTo>
                    <a:pt x="287690" y="152059"/>
                  </a:lnTo>
                  <a:lnTo>
                    <a:pt x="283019" y="150693"/>
                  </a:lnTo>
                  <a:close/>
                  <a:moveTo>
                    <a:pt x="62889" y="146049"/>
                  </a:moveTo>
                  <a:lnTo>
                    <a:pt x="61368" y="150693"/>
                  </a:lnTo>
                  <a:lnTo>
                    <a:pt x="56697" y="152059"/>
                  </a:lnTo>
                  <a:lnTo>
                    <a:pt x="60608" y="154955"/>
                  </a:lnTo>
                  <a:lnTo>
                    <a:pt x="60472" y="159872"/>
                  </a:lnTo>
                  <a:lnTo>
                    <a:pt x="64437" y="157004"/>
                  </a:lnTo>
                  <a:lnTo>
                    <a:pt x="68999" y="158670"/>
                  </a:lnTo>
                  <a:lnTo>
                    <a:pt x="67533" y="153999"/>
                  </a:lnTo>
                  <a:lnTo>
                    <a:pt x="70520" y="150120"/>
                  </a:lnTo>
                  <a:lnTo>
                    <a:pt x="65632" y="150092"/>
                  </a:lnTo>
                  <a:close/>
                  <a:moveTo>
                    <a:pt x="275292" y="127618"/>
                  </a:moveTo>
                  <a:lnTo>
                    <a:pt x="273269" y="132007"/>
                  </a:lnTo>
                  <a:lnTo>
                    <a:pt x="268457" y="132864"/>
                  </a:lnTo>
                  <a:lnTo>
                    <a:pt x="272066" y="136103"/>
                  </a:lnTo>
                  <a:lnTo>
                    <a:pt x="271410" y="140840"/>
                  </a:lnTo>
                  <a:lnTo>
                    <a:pt x="275674" y="138458"/>
                  </a:lnTo>
                  <a:lnTo>
                    <a:pt x="280076" y="140546"/>
                  </a:lnTo>
                  <a:lnTo>
                    <a:pt x="279091" y="135862"/>
                  </a:lnTo>
                  <a:lnTo>
                    <a:pt x="282481" y="132382"/>
                  </a:lnTo>
                  <a:lnTo>
                    <a:pt x="277615" y="131847"/>
                  </a:lnTo>
                  <a:close/>
                  <a:moveTo>
                    <a:pt x="69193" y="127618"/>
                  </a:moveTo>
                  <a:lnTo>
                    <a:pt x="66903" y="131847"/>
                  </a:lnTo>
                  <a:lnTo>
                    <a:pt x="62106" y="132382"/>
                  </a:lnTo>
                  <a:lnTo>
                    <a:pt x="65447" y="135862"/>
                  </a:lnTo>
                  <a:lnTo>
                    <a:pt x="64477" y="140546"/>
                  </a:lnTo>
                  <a:lnTo>
                    <a:pt x="68816" y="138458"/>
                  </a:lnTo>
                  <a:lnTo>
                    <a:pt x="73019" y="140840"/>
                  </a:lnTo>
                  <a:lnTo>
                    <a:pt x="72373" y="136103"/>
                  </a:lnTo>
                  <a:lnTo>
                    <a:pt x="75929" y="132864"/>
                  </a:lnTo>
                  <a:lnTo>
                    <a:pt x="71187" y="132007"/>
                  </a:lnTo>
                  <a:close/>
                  <a:moveTo>
                    <a:pt x="265997" y="110188"/>
                  </a:moveTo>
                  <a:lnTo>
                    <a:pt x="264803" y="114963"/>
                  </a:lnTo>
                  <a:lnTo>
                    <a:pt x="260243" y="116665"/>
                  </a:lnTo>
                  <a:lnTo>
                    <a:pt x="264341" y="119299"/>
                  </a:lnTo>
                  <a:lnTo>
                    <a:pt x="264558" y="124212"/>
                  </a:lnTo>
                  <a:lnTo>
                    <a:pt x="268276" y="121083"/>
                  </a:lnTo>
                  <a:lnTo>
                    <a:pt x="272971" y="122401"/>
                  </a:lnTo>
                  <a:lnTo>
                    <a:pt x="271180" y="117845"/>
                  </a:lnTo>
                  <a:lnTo>
                    <a:pt x="273867" y="113756"/>
                  </a:lnTo>
                  <a:lnTo>
                    <a:pt x="269009" y="114057"/>
                  </a:lnTo>
                  <a:close/>
                  <a:moveTo>
                    <a:pt x="78590" y="110188"/>
                  </a:moveTo>
                  <a:lnTo>
                    <a:pt x="75578" y="114057"/>
                  </a:lnTo>
                  <a:lnTo>
                    <a:pt x="70721" y="113756"/>
                  </a:lnTo>
                  <a:lnTo>
                    <a:pt x="73407" y="117845"/>
                  </a:lnTo>
                  <a:lnTo>
                    <a:pt x="71616" y="122401"/>
                  </a:lnTo>
                  <a:lnTo>
                    <a:pt x="76311" y="121083"/>
                  </a:lnTo>
                  <a:lnTo>
                    <a:pt x="80029" y="124212"/>
                  </a:lnTo>
                  <a:lnTo>
                    <a:pt x="80246" y="119299"/>
                  </a:lnTo>
                  <a:lnTo>
                    <a:pt x="84344" y="116665"/>
                  </a:lnTo>
                  <a:lnTo>
                    <a:pt x="79785" y="114963"/>
                  </a:lnTo>
                  <a:close/>
                  <a:moveTo>
                    <a:pt x="172293" y="107507"/>
                  </a:moveTo>
                  <a:cubicBezTo>
                    <a:pt x="169195" y="107507"/>
                    <a:pt x="166097" y="109253"/>
                    <a:pt x="164742" y="112163"/>
                  </a:cubicBezTo>
                  <a:lnTo>
                    <a:pt x="148477" y="145335"/>
                  </a:lnTo>
                  <a:lnTo>
                    <a:pt x="111881" y="150766"/>
                  </a:lnTo>
                  <a:cubicBezTo>
                    <a:pt x="108589" y="151154"/>
                    <a:pt x="106072" y="153482"/>
                    <a:pt x="104910" y="156392"/>
                  </a:cubicBezTo>
                  <a:cubicBezTo>
                    <a:pt x="103942" y="159496"/>
                    <a:pt x="104910" y="162988"/>
                    <a:pt x="107234" y="165121"/>
                  </a:cubicBezTo>
                  <a:lnTo>
                    <a:pt x="133567" y="190922"/>
                  </a:lnTo>
                  <a:lnTo>
                    <a:pt x="127371" y="227392"/>
                  </a:lnTo>
                  <a:cubicBezTo>
                    <a:pt x="126790" y="230689"/>
                    <a:pt x="128146" y="233987"/>
                    <a:pt x="130663" y="235733"/>
                  </a:cubicBezTo>
                  <a:cubicBezTo>
                    <a:pt x="132212" y="236897"/>
                    <a:pt x="133955" y="237479"/>
                    <a:pt x="135697" y="237479"/>
                  </a:cubicBezTo>
                  <a:cubicBezTo>
                    <a:pt x="137053" y="237479"/>
                    <a:pt x="138408" y="237091"/>
                    <a:pt x="139570" y="236509"/>
                  </a:cubicBezTo>
                  <a:lnTo>
                    <a:pt x="172293" y="219244"/>
                  </a:lnTo>
                  <a:lnTo>
                    <a:pt x="205016" y="236509"/>
                  </a:lnTo>
                  <a:cubicBezTo>
                    <a:pt x="206372" y="237091"/>
                    <a:pt x="207727" y="237479"/>
                    <a:pt x="209083" y="237479"/>
                  </a:cubicBezTo>
                  <a:cubicBezTo>
                    <a:pt x="210825" y="237479"/>
                    <a:pt x="212568" y="236897"/>
                    <a:pt x="213923" y="235733"/>
                  </a:cubicBezTo>
                  <a:cubicBezTo>
                    <a:pt x="216634" y="233987"/>
                    <a:pt x="217990" y="230689"/>
                    <a:pt x="217409" y="227392"/>
                  </a:cubicBezTo>
                  <a:lnTo>
                    <a:pt x="211213" y="190922"/>
                  </a:lnTo>
                  <a:lnTo>
                    <a:pt x="237546" y="165121"/>
                  </a:lnTo>
                  <a:cubicBezTo>
                    <a:pt x="239870" y="162988"/>
                    <a:pt x="240644" y="159496"/>
                    <a:pt x="239676" y="156392"/>
                  </a:cubicBezTo>
                  <a:cubicBezTo>
                    <a:pt x="238708" y="153482"/>
                    <a:pt x="235997" y="151154"/>
                    <a:pt x="232899" y="150766"/>
                  </a:cubicBezTo>
                  <a:lnTo>
                    <a:pt x="196303" y="145335"/>
                  </a:lnTo>
                  <a:lnTo>
                    <a:pt x="180038" y="112163"/>
                  </a:lnTo>
                  <a:cubicBezTo>
                    <a:pt x="178489" y="109253"/>
                    <a:pt x="175585" y="107507"/>
                    <a:pt x="172293" y="107507"/>
                  </a:cubicBezTo>
                  <a:close/>
                  <a:moveTo>
                    <a:pt x="253771" y="94962"/>
                  </a:moveTo>
                  <a:lnTo>
                    <a:pt x="253394" y="99795"/>
                  </a:lnTo>
                  <a:lnTo>
                    <a:pt x="249225" y="102225"/>
                  </a:lnTo>
                  <a:lnTo>
                    <a:pt x="253690" y="104061"/>
                  </a:lnTo>
                  <a:lnTo>
                    <a:pt x="254712" y="108785"/>
                  </a:lnTo>
                  <a:lnTo>
                    <a:pt x="257833" y="105114"/>
                  </a:lnTo>
                  <a:lnTo>
                    <a:pt x="262648" y="105573"/>
                  </a:lnTo>
                  <a:lnTo>
                    <a:pt x="260119" y="101469"/>
                  </a:lnTo>
                  <a:lnTo>
                    <a:pt x="262056" y="97041"/>
                  </a:lnTo>
                  <a:lnTo>
                    <a:pt x="257348" y="98175"/>
                  </a:lnTo>
                  <a:close/>
                  <a:moveTo>
                    <a:pt x="90749" y="94962"/>
                  </a:moveTo>
                  <a:lnTo>
                    <a:pt x="87118" y="98175"/>
                  </a:lnTo>
                  <a:lnTo>
                    <a:pt x="82340" y="97041"/>
                  </a:lnTo>
                  <a:lnTo>
                    <a:pt x="84333" y="101469"/>
                  </a:lnTo>
                  <a:lnTo>
                    <a:pt x="81739" y="105573"/>
                  </a:lnTo>
                  <a:lnTo>
                    <a:pt x="86626" y="105114"/>
                  </a:lnTo>
                  <a:lnTo>
                    <a:pt x="89793" y="108785"/>
                  </a:lnTo>
                  <a:lnTo>
                    <a:pt x="90831" y="104061"/>
                  </a:lnTo>
                  <a:lnTo>
                    <a:pt x="95363" y="102225"/>
                  </a:lnTo>
                  <a:lnTo>
                    <a:pt x="91131" y="99795"/>
                  </a:lnTo>
                  <a:close/>
                  <a:moveTo>
                    <a:pt x="239015" y="81940"/>
                  </a:moveTo>
                  <a:lnTo>
                    <a:pt x="239501" y="86827"/>
                  </a:lnTo>
                  <a:lnTo>
                    <a:pt x="235802" y="89993"/>
                  </a:lnTo>
                  <a:lnTo>
                    <a:pt x="240527" y="91031"/>
                  </a:lnTo>
                  <a:lnTo>
                    <a:pt x="242363" y="95563"/>
                  </a:lnTo>
                  <a:lnTo>
                    <a:pt x="244792" y="91331"/>
                  </a:lnTo>
                  <a:lnTo>
                    <a:pt x="249625" y="90976"/>
                  </a:lnTo>
                  <a:lnTo>
                    <a:pt x="246413" y="87318"/>
                  </a:lnTo>
                  <a:lnTo>
                    <a:pt x="247546" y="82568"/>
                  </a:lnTo>
                  <a:lnTo>
                    <a:pt x="243119" y="84533"/>
                  </a:lnTo>
                  <a:close/>
                  <a:moveTo>
                    <a:pt x="105372" y="81940"/>
                  </a:moveTo>
                  <a:lnTo>
                    <a:pt x="101268" y="84533"/>
                  </a:lnTo>
                  <a:lnTo>
                    <a:pt x="96841" y="82568"/>
                  </a:lnTo>
                  <a:lnTo>
                    <a:pt x="97975" y="87318"/>
                  </a:lnTo>
                  <a:lnTo>
                    <a:pt x="94762" y="90976"/>
                  </a:lnTo>
                  <a:lnTo>
                    <a:pt x="99594" y="91331"/>
                  </a:lnTo>
                  <a:lnTo>
                    <a:pt x="102024" y="95563"/>
                  </a:lnTo>
                  <a:lnTo>
                    <a:pt x="103860" y="91031"/>
                  </a:lnTo>
                  <a:lnTo>
                    <a:pt x="108585" y="89993"/>
                  </a:lnTo>
                  <a:lnTo>
                    <a:pt x="104886" y="86827"/>
                  </a:lnTo>
                  <a:close/>
                  <a:moveTo>
                    <a:pt x="230910" y="70720"/>
                  </a:moveTo>
                  <a:lnTo>
                    <a:pt x="226879" y="73474"/>
                  </a:lnTo>
                  <a:lnTo>
                    <a:pt x="222361" y="71629"/>
                  </a:lnTo>
                  <a:lnTo>
                    <a:pt x="223687" y="76393"/>
                  </a:lnTo>
                  <a:lnTo>
                    <a:pt x="220576" y="80193"/>
                  </a:lnTo>
                  <a:lnTo>
                    <a:pt x="225418" y="80386"/>
                  </a:lnTo>
                  <a:lnTo>
                    <a:pt x="228015" y="84544"/>
                  </a:lnTo>
                  <a:lnTo>
                    <a:pt x="229692" y="79918"/>
                  </a:lnTo>
                  <a:lnTo>
                    <a:pt x="234399" y="78706"/>
                  </a:lnTo>
                  <a:lnTo>
                    <a:pt x="230585" y="75650"/>
                  </a:lnTo>
                  <a:close/>
                  <a:moveTo>
                    <a:pt x="113678" y="70720"/>
                  </a:moveTo>
                  <a:lnTo>
                    <a:pt x="114002" y="75650"/>
                  </a:lnTo>
                  <a:lnTo>
                    <a:pt x="110188" y="78706"/>
                  </a:lnTo>
                  <a:lnTo>
                    <a:pt x="114895" y="79918"/>
                  </a:lnTo>
                  <a:lnTo>
                    <a:pt x="116572" y="84544"/>
                  </a:lnTo>
                  <a:lnTo>
                    <a:pt x="119169" y="80386"/>
                  </a:lnTo>
                  <a:lnTo>
                    <a:pt x="124011" y="80193"/>
                  </a:lnTo>
                  <a:lnTo>
                    <a:pt x="120900" y="76393"/>
                  </a:lnTo>
                  <a:lnTo>
                    <a:pt x="122226" y="71629"/>
                  </a:lnTo>
                  <a:lnTo>
                    <a:pt x="117708" y="73474"/>
                  </a:lnTo>
                  <a:close/>
                  <a:moveTo>
                    <a:pt x="212334" y="62106"/>
                  </a:moveTo>
                  <a:lnTo>
                    <a:pt x="208828" y="65489"/>
                  </a:lnTo>
                  <a:lnTo>
                    <a:pt x="204046" y="64507"/>
                  </a:lnTo>
                  <a:lnTo>
                    <a:pt x="206165" y="68900"/>
                  </a:lnTo>
                  <a:lnTo>
                    <a:pt x="203747" y="73156"/>
                  </a:lnTo>
                  <a:lnTo>
                    <a:pt x="208584" y="72501"/>
                  </a:lnTo>
                  <a:lnTo>
                    <a:pt x="211844" y="76130"/>
                  </a:lnTo>
                  <a:lnTo>
                    <a:pt x="212714" y="71301"/>
                  </a:lnTo>
                  <a:lnTo>
                    <a:pt x="217170" y="69282"/>
                  </a:lnTo>
                  <a:lnTo>
                    <a:pt x="212877" y="66962"/>
                  </a:lnTo>
                  <a:close/>
                  <a:moveTo>
                    <a:pt x="132182" y="62106"/>
                  </a:moveTo>
                  <a:lnTo>
                    <a:pt x="131646" y="66962"/>
                  </a:lnTo>
                  <a:lnTo>
                    <a:pt x="127417" y="69282"/>
                  </a:lnTo>
                  <a:lnTo>
                    <a:pt x="131807" y="71301"/>
                  </a:lnTo>
                  <a:lnTo>
                    <a:pt x="132663" y="76130"/>
                  </a:lnTo>
                  <a:lnTo>
                    <a:pt x="135875" y="72501"/>
                  </a:lnTo>
                  <a:lnTo>
                    <a:pt x="140640" y="73156"/>
                  </a:lnTo>
                  <a:lnTo>
                    <a:pt x="138258" y="68900"/>
                  </a:lnTo>
                  <a:lnTo>
                    <a:pt x="140345" y="64507"/>
                  </a:lnTo>
                  <a:lnTo>
                    <a:pt x="135635" y="65489"/>
                  </a:lnTo>
                  <a:close/>
                  <a:moveTo>
                    <a:pt x="192615" y="56897"/>
                  </a:moveTo>
                  <a:lnTo>
                    <a:pt x="189761" y="60835"/>
                  </a:lnTo>
                  <a:lnTo>
                    <a:pt x="184915" y="60672"/>
                  </a:lnTo>
                  <a:lnTo>
                    <a:pt x="187742" y="64637"/>
                  </a:lnTo>
                  <a:lnTo>
                    <a:pt x="186127" y="69227"/>
                  </a:lnTo>
                  <a:lnTo>
                    <a:pt x="190704" y="67733"/>
                  </a:lnTo>
                  <a:lnTo>
                    <a:pt x="194527" y="70720"/>
                  </a:lnTo>
                  <a:lnTo>
                    <a:pt x="194554" y="65832"/>
                  </a:lnTo>
                  <a:lnTo>
                    <a:pt x="198538" y="63089"/>
                  </a:lnTo>
                  <a:lnTo>
                    <a:pt x="193961" y="61568"/>
                  </a:lnTo>
                  <a:close/>
                  <a:moveTo>
                    <a:pt x="151859" y="56897"/>
                  </a:moveTo>
                  <a:lnTo>
                    <a:pt x="150493" y="61568"/>
                  </a:lnTo>
                  <a:lnTo>
                    <a:pt x="145849" y="63089"/>
                  </a:lnTo>
                  <a:lnTo>
                    <a:pt x="149892" y="65832"/>
                  </a:lnTo>
                  <a:lnTo>
                    <a:pt x="149919" y="70720"/>
                  </a:lnTo>
                  <a:lnTo>
                    <a:pt x="153798" y="67733"/>
                  </a:lnTo>
                  <a:lnTo>
                    <a:pt x="158443" y="69227"/>
                  </a:lnTo>
                  <a:lnTo>
                    <a:pt x="156804" y="64637"/>
                  </a:lnTo>
                  <a:lnTo>
                    <a:pt x="159672" y="60672"/>
                  </a:lnTo>
                  <a:lnTo>
                    <a:pt x="154755" y="60835"/>
                  </a:lnTo>
                  <a:close/>
                  <a:moveTo>
                    <a:pt x="172307" y="55094"/>
                  </a:moveTo>
                  <a:lnTo>
                    <a:pt x="170121" y="59447"/>
                  </a:lnTo>
                  <a:lnTo>
                    <a:pt x="165282" y="60150"/>
                  </a:lnTo>
                  <a:lnTo>
                    <a:pt x="168781" y="63530"/>
                  </a:lnTo>
                  <a:lnTo>
                    <a:pt x="167961" y="68316"/>
                  </a:lnTo>
                  <a:lnTo>
                    <a:pt x="172307" y="66045"/>
                  </a:lnTo>
                  <a:lnTo>
                    <a:pt x="176627" y="68316"/>
                  </a:lnTo>
                  <a:lnTo>
                    <a:pt x="175806" y="63530"/>
                  </a:lnTo>
                  <a:lnTo>
                    <a:pt x="179306" y="60150"/>
                  </a:lnTo>
                  <a:lnTo>
                    <a:pt x="174467" y="59447"/>
                  </a:lnTo>
                  <a:close/>
                  <a:moveTo>
                    <a:pt x="171615" y="48293"/>
                  </a:moveTo>
                  <a:cubicBezTo>
                    <a:pt x="239051" y="48293"/>
                    <a:pt x="293719" y="102961"/>
                    <a:pt x="293719" y="170398"/>
                  </a:cubicBezTo>
                  <a:cubicBezTo>
                    <a:pt x="293719" y="237834"/>
                    <a:pt x="239051" y="292503"/>
                    <a:pt x="171615" y="292503"/>
                  </a:cubicBezTo>
                  <a:cubicBezTo>
                    <a:pt x="104179" y="292503"/>
                    <a:pt x="49510" y="237834"/>
                    <a:pt x="49510" y="170398"/>
                  </a:cubicBezTo>
                  <a:cubicBezTo>
                    <a:pt x="49510" y="102961"/>
                    <a:pt x="104179" y="48293"/>
                    <a:pt x="171615" y="48293"/>
                  </a:cubicBezTo>
                  <a:close/>
                  <a:moveTo>
                    <a:pt x="171615" y="34348"/>
                  </a:moveTo>
                  <a:cubicBezTo>
                    <a:pt x="96477" y="34348"/>
                    <a:pt x="35565" y="95260"/>
                    <a:pt x="35565" y="170398"/>
                  </a:cubicBezTo>
                  <a:cubicBezTo>
                    <a:pt x="35565" y="245536"/>
                    <a:pt x="96477" y="306448"/>
                    <a:pt x="171615" y="306448"/>
                  </a:cubicBezTo>
                  <a:cubicBezTo>
                    <a:pt x="246753" y="306448"/>
                    <a:pt x="307665" y="245536"/>
                    <a:pt x="307665" y="170398"/>
                  </a:cubicBezTo>
                  <a:cubicBezTo>
                    <a:pt x="307665" y="95260"/>
                    <a:pt x="246753" y="34348"/>
                    <a:pt x="171615" y="34348"/>
                  </a:cubicBezTo>
                  <a:close/>
                  <a:moveTo>
                    <a:pt x="172307" y="0"/>
                  </a:moveTo>
                  <a:cubicBezTo>
                    <a:pt x="186784" y="0"/>
                    <a:pt x="198956" y="17777"/>
                    <a:pt x="212700" y="21468"/>
                  </a:cubicBezTo>
                  <a:cubicBezTo>
                    <a:pt x="226580" y="25187"/>
                    <a:pt x="246018" y="15932"/>
                    <a:pt x="258434" y="23124"/>
                  </a:cubicBezTo>
                  <a:cubicBezTo>
                    <a:pt x="270768" y="30235"/>
                    <a:pt x="272476" y="51703"/>
                    <a:pt x="282724" y="61936"/>
                  </a:cubicBezTo>
                  <a:cubicBezTo>
                    <a:pt x="292944" y="72195"/>
                    <a:pt x="314387" y="73905"/>
                    <a:pt x="321490" y="86254"/>
                  </a:cubicBezTo>
                  <a:cubicBezTo>
                    <a:pt x="328674" y="98684"/>
                    <a:pt x="319430" y="118144"/>
                    <a:pt x="323144" y="132040"/>
                  </a:cubicBezTo>
                  <a:cubicBezTo>
                    <a:pt x="326831" y="145801"/>
                    <a:pt x="344587" y="158014"/>
                    <a:pt x="344587" y="172508"/>
                  </a:cubicBezTo>
                  <a:cubicBezTo>
                    <a:pt x="344587" y="187001"/>
                    <a:pt x="326831" y="199214"/>
                    <a:pt x="323144" y="212975"/>
                  </a:cubicBezTo>
                  <a:cubicBezTo>
                    <a:pt x="319430" y="226844"/>
                    <a:pt x="328674" y="246304"/>
                    <a:pt x="321490" y="258734"/>
                  </a:cubicBezTo>
                  <a:cubicBezTo>
                    <a:pt x="314387" y="271083"/>
                    <a:pt x="292944" y="272793"/>
                    <a:pt x="282724" y="283052"/>
                  </a:cubicBezTo>
                  <a:cubicBezTo>
                    <a:pt x="272476" y="293312"/>
                    <a:pt x="270768" y="314753"/>
                    <a:pt x="258434" y="321891"/>
                  </a:cubicBezTo>
                  <a:cubicBezTo>
                    <a:pt x="246018" y="329056"/>
                    <a:pt x="226580" y="319801"/>
                    <a:pt x="212700" y="323520"/>
                  </a:cubicBezTo>
                  <a:cubicBezTo>
                    <a:pt x="198956" y="327211"/>
                    <a:pt x="186784" y="344988"/>
                    <a:pt x="172307" y="344988"/>
                  </a:cubicBezTo>
                  <a:cubicBezTo>
                    <a:pt x="157804" y="344988"/>
                    <a:pt x="145632" y="327211"/>
                    <a:pt x="131887" y="323520"/>
                  </a:cubicBezTo>
                  <a:cubicBezTo>
                    <a:pt x="118007" y="319801"/>
                    <a:pt x="98570" y="329056"/>
                    <a:pt x="86154" y="321891"/>
                  </a:cubicBezTo>
                  <a:cubicBezTo>
                    <a:pt x="73819" y="314753"/>
                    <a:pt x="72111" y="293312"/>
                    <a:pt x="61864" y="283052"/>
                  </a:cubicBezTo>
                  <a:cubicBezTo>
                    <a:pt x="51644" y="272793"/>
                    <a:pt x="30200" y="271083"/>
                    <a:pt x="23097" y="258734"/>
                  </a:cubicBezTo>
                  <a:cubicBezTo>
                    <a:pt x="15913" y="246304"/>
                    <a:pt x="25158" y="226844"/>
                    <a:pt x="21444" y="212975"/>
                  </a:cubicBezTo>
                  <a:cubicBezTo>
                    <a:pt x="17757" y="199214"/>
                    <a:pt x="0" y="187001"/>
                    <a:pt x="0" y="172508"/>
                  </a:cubicBezTo>
                  <a:cubicBezTo>
                    <a:pt x="0" y="158014"/>
                    <a:pt x="17757" y="145801"/>
                    <a:pt x="21444" y="132040"/>
                  </a:cubicBezTo>
                  <a:cubicBezTo>
                    <a:pt x="25158" y="118144"/>
                    <a:pt x="15913" y="98684"/>
                    <a:pt x="23097" y="86254"/>
                  </a:cubicBezTo>
                  <a:cubicBezTo>
                    <a:pt x="30200" y="73905"/>
                    <a:pt x="51644" y="72195"/>
                    <a:pt x="61864" y="61936"/>
                  </a:cubicBezTo>
                  <a:cubicBezTo>
                    <a:pt x="72111" y="51703"/>
                    <a:pt x="73819" y="30235"/>
                    <a:pt x="86154" y="23124"/>
                  </a:cubicBezTo>
                  <a:cubicBezTo>
                    <a:pt x="98570" y="15932"/>
                    <a:pt x="118007" y="25187"/>
                    <a:pt x="131887" y="21468"/>
                  </a:cubicBezTo>
                  <a:cubicBezTo>
                    <a:pt x="145632" y="17777"/>
                    <a:pt x="157804" y="0"/>
                    <a:pt x="17230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352">
              <a:extLst>
                <a:ext uri="{FF2B5EF4-FFF2-40B4-BE49-F238E27FC236}">
                  <a16:creationId xmlns:a16="http://schemas.microsoft.com/office/drawing/2014/main" id="{02E74E3F-674C-468C-B05E-B8BF34A8A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6243" y="443760"/>
              <a:ext cx="145448" cy="207954"/>
            </a:xfrm>
            <a:custGeom>
              <a:avLst/>
              <a:gdLst>
                <a:gd name="T0" fmla="*/ 3234 w 5365"/>
                <a:gd name="T1" fmla="*/ 384 h 7662"/>
                <a:gd name="T2" fmla="*/ 1547 w 5365"/>
                <a:gd name="T3" fmla="*/ 444 h 7662"/>
                <a:gd name="T4" fmla="*/ 57 w 5365"/>
                <a:gd name="T5" fmla="*/ 1235 h 7662"/>
                <a:gd name="T6" fmla="*/ 0 w 5365"/>
                <a:gd name="T7" fmla="*/ 1233 h 7662"/>
                <a:gd name="T8" fmla="*/ 1722 w 5365"/>
                <a:gd name="T9" fmla="*/ 7662 h 7662"/>
                <a:gd name="T10" fmla="*/ 3185 w 5365"/>
                <a:gd name="T11" fmla="*/ 5834 h 7662"/>
                <a:gd name="T12" fmla="*/ 5365 w 5365"/>
                <a:gd name="T13" fmla="*/ 6686 h 7662"/>
                <a:gd name="T14" fmla="*/ 3574 w 5365"/>
                <a:gd name="T15" fmla="*/ 0 h 7662"/>
                <a:gd name="T16" fmla="*/ 3234 w 5365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5" h="7662">
                  <a:moveTo>
                    <a:pt x="3234" y="384"/>
                  </a:moveTo>
                  <a:cubicBezTo>
                    <a:pt x="2776" y="649"/>
                    <a:pt x="2059" y="307"/>
                    <a:pt x="1547" y="444"/>
                  </a:cubicBezTo>
                  <a:cubicBezTo>
                    <a:pt x="1040" y="580"/>
                    <a:pt x="591" y="1235"/>
                    <a:pt x="57" y="1235"/>
                  </a:cubicBezTo>
                  <a:cubicBezTo>
                    <a:pt x="37" y="1235"/>
                    <a:pt x="18" y="1235"/>
                    <a:pt x="0" y="1233"/>
                  </a:cubicBezTo>
                  <a:lnTo>
                    <a:pt x="1722" y="7662"/>
                  </a:lnTo>
                  <a:lnTo>
                    <a:pt x="3185" y="5834"/>
                  </a:lnTo>
                  <a:lnTo>
                    <a:pt x="5365" y="6686"/>
                  </a:lnTo>
                  <a:lnTo>
                    <a:pt x="3574" y="0"/>
                  </a:lnTo>
                  <a:cubicBezTo>
                    <a:pt x="3485" y="162"/>
                    <a:pt x="3380" y="300"/>
                    <a:pt x="3234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353">
              <a:extLst>
                <a:ext uri="{FF2B5EF4-FFF2-40B4-BE49-F238E27FC236}">
                  <a16:creationId xmlns:a16="http://schemas.microsoft.com/office/drawing/2014/main" id="{DAD1C763-E31E-4212-98CA-65F48FEFF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373" y="443760"/>
              <a:ext cx="145448" cy="207954"/>
            </a:xfrm>
            <a:custGeom>
              <a:avLst/>
              <a:gdLst>
                <a:gd name="T0" fmla="*/ 2131 w 5366"/>
                <a:gd name="T1" fmla="*/ 384 h 7662"/>
                <a:gd name="T2" fmla="*/ 3818 w 5366"/>
                <a:gd name="T3" fmla="*/ 444 h 7662"/>
                <a:gd name="T4" fmla="*/ 5308 w 5366"/>
                <a:gd name="T5" fmla="*/ 1235 h 7662"/>
                <a:gd name="T6" fmla="*/ 5366 w 5366"/>
                <a:gd name="T7" fmla="*/ 1233 h 7662"/>
                <a:gd name="T8" fmla="*/ 3643 w 5366"/>
                <a:gd name="T9" fmla="*/ 7662 h 7662"/>
                <a:gd name="T10" fmla="*/ 2180 w 5366"/>
                <a:gd name="T11" fmla="*/ 5834 h 7662"/>
                <a:gd name="T12" fmla="*/ 0 w 5366"/>
                <a:gd name="T13" fmla="*/ 6686 h 7662"/>
                <a:gd name="T14" fmla="*/ 1791 w 5366"/>
                <a:gd name="T15" fmla="*/ 0 h 7662"/>
                <a:gd name="T16" fmla="*/ 2131 w 5366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6" h="7662">
                  <a:moveTo>
                    <a:pt x="2131" y="384"/>
                  </a:moveTo>
                  <a:cubicBezTo>
                    <a:pt x="2589" y="649"/>
                    <a:pt x="3306" y="307"/>
                    <a:pt x="3818" y="444"/>
                  </a:cubicBezTo>
                  <a:cubicBezTo>
                    <a:pt x="4325" y="580"/>
                    <a:pt x="4774" y="1235"/>
                    <a:pt x="5308" y="1235"/>
                  </a:cubicBezTo>
                  <a:cubicBezTo>
                    <a:pt x="5328" y="1235"/>
                    <a:pt x="5347" y="1235"/>
                    <a:pt x="5366" y="1233"/>
                  </a:cubicBezTo>
                  <a:lnTo>
                    <a:pt x="3643" y="7662"/>
                  </a:lnTo>
                  <a:lnTo>
                    <a:pt x="2180" y="5834"/>
                  </a:lnTo>
                  <a:lnTo>
                    <a:pt x="0" y="6686"/>
                  </a:lnTo>
                  <a:lnTo>
                    <a:pt x="1791" y="0"/>
                  </a:lnTo>
                  <a:cubicBezTo>
                    <a:pt x="1880" y="162"/>
                    <a:pt x="1985" y="300"/>
                    <a:pt x="2131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9900381-058A-49D1-91B1-63D7DD95F910}"/>
              </a:ext>
            </a:extLst>
          </p:cNvPr>
          <p:cNvSpPr/>
          <p:nvPr/>
        </p:nvSpPr>
        <p:spPr>
          <a:xfrm>
            <a:off x="1179226" y="1591878"/>
            <a:ext cx="10355636" cy="9079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endParaRPr lang="fr-FR" sz="2400"/>
          </a:p>
          <a:p>
            <a:pPr>
              <a:spcAft>
                <a:spcPts val="600"/>
              </a:spcAft>
            </a:pPr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38435763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3" name="Rectangle 16">
            <a:extLst>
              <a:ext uri="{FF2B5EF4-FFF2-40B4-BE49-F238E27FC236}">
                <a16:creationId xmlns:a16="http://schemas.microsoft.com/office/drawing/2014/main" id="{8761DDFE-071F-4200-B0AA-394476C2D2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8" y="547816"/>
            <a:ext cx="11172827" cy="661464"/>
          </a:xfrm>
        </p:spPr>
        <p:txBody>
          <a:bodyPr>
            <a:normAutofit/>
          </a:bodyPr>
          <a:lstStyle/>
          <a:p>
            <a:r>
              <a:rPr lang="fr-FR" sz="4000" dirty="0"/>
              <a:t>Comptabilisation – oui mais comment ?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6619" y="547815"/>
            <a:ext cx="5178960" cy="1680519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fr-FR" sz="200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endParaRPr lang="fr-FR" sz="200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fr-FR" sz="200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fr-FR" sz="2000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33AA6049-734C-4D7F-BE75-F9294B148F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60125" y="1632273"/>
            <a:ext cx="5418159" cy="3939852"/>
          </a:xfrm>
          <a:prstGeom prst="rect">
            <a:avLst/>
          </a:prstGeom>
        </p:spPr>
      </p:pic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8C184D2A-ADBF-4B50-A23F-D9937B95E3E3}"/>
              </a:ext>
            </a:extLst>
          </p:cNvPr>
          <p:cNvGraphicFramePr>
            <a:graphicFrameLocks noGrp="1"/>
          </p:cNvGraphicFramePr>
          <p:nvPr/>
        </p:nvGraphicFramePr>
        <p:xfrm>
          <a:off x="373986" y="1632273"/>
          <a:ext cx="6175472" cy="3844600"/>
        </p:xfrm>
        <a:graphic>
          <a:graphicData uri="http://schemas.openxmlformats.org/drawingml/2006/table">
            <a:tbl>
              <a:tblPr firstRow="1" firstCol="1" bandRow="1"/>
              <a:tblGrid>
                <a:gridCol w="3087736">
                  <a:extLst>
                    <a:ext uri="{9D8B030D-6E8A-4147-A177-3AD203B41FA5}">
                      <a16:colId xmlns:a16="http://schemas.microsoft.com/office/drawing/2014/main" val="1694819157"/>
                    </a:ext>
                  </a:extLst>
                </a:gridCol>
                <a:gridCol w="3087736">
                  <a:extLst>
                    <a:ext uri="{9D8B030D-6E8A-4147-A177-3AD203B41FA5}">
                      <a16:colId xmlns:a16="http://schemas.microsoft.com/office/drawing/2014/main" val="1952349672"/>
                    </a:ext>
                  </a:extLst>
                </a:gridCol>
              </a:tblGrid>
              <a:tr h="669893">
                <a:tc gridSpan="2">
                  <a:txBody>
                    <a:bodyPr/>
                    <a:lstStyle/>
                    <a:p>
                      <a:pPr algn="ctr"/>
                      <a:r>
                        <a:rPr lang="fr-FR" sz="23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ilan</a:t>
                      </a:r>
                      <a:endParaRPr lang="fr-FR" sz="23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8806" marR="9880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2995282"/>
                  </a:ext>
                </a:extLst>
              </a:tr>
              <a:tr h="669893">
                <a:tc>
                  <a:txBody>
                    <a:bodyPr/>
                    <a:lstStyle/>
                    <a:p>
                      <a:pPr algn="ctr"/>
                      <a:r>
                        <a:rPr lang="fr-FR" sz="23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ctif</a:t>
                      </a:r>
                      <a:endParaRPr lang="fr-FR" sz="23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8806" marR="9880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3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assif</a:t>
                      </a:r>
                      <a:endParaRPr lang="fr-FR" sz="23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8806" marR="9880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19990668"/>
                  </a:ext>
                </a:extLst>
              </a:tr>
              <a:tr h="1252407">
                <a:tc>
                  <a:txBody>
                    <a:bodyPr/>
                    <a:lstStyle/>
                    <a:p>
                      <a:pPr algn="l"/>
                      <a:r>
                        <a:rPr lang="fr-FR" sz="23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ugmentation =&gt; Débit</a:t>
                      </a:r>
                    </a:p>
                  </a:txBody>
                  <a:tcPr marL="98806" marR="9880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23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ugmentation =&gt; Crédit</a:t>
                      </a:r>
                    </a:p>
                  </a:txBody>
                  <a:tcPr marL="98806" marR="9880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5610393"/>
                  </a:ext>
                </a:extLst>
              </a:tr>
              <a:tr h="1252407">
                <a:tc>
                  <a:txBody>
                    <a:bodyPr/>
                    <a:lstStyle/>
                    <a:p>
                      <a:pPr algn="l"/>
                      <a:r>
                        <a:rPr lang="fr-FR" sz="23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iminution =&gt; Crédit</a:t>
                      </a:r>
                    </a:p>
                  </a:txBody>
                  <a:tcPr marL="98806" marR="9880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23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iminution =&gt; Débit</a:t>
                      </a:r>
                    </a:p>
                  </a:txBody>
                  <a:tcPr marL="98806" marR="9880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059293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5673813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3363" y="365760"/>
            <a:ext cx="9367203" cy="1188720"/>
          </a:xfrm>
        </p:spPr>
        <p:txBody>
          <a:bodyPr>
            <a:normAutofit/>
          </a:bodyPr>
          <a:lstStyle/>
          <a:p>
            <a:r>
              <a:rPr lang="fr-FR" dirty="0"/>
              <a:t>Comptabilisation - Méthode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CB4857B-ED7C-444D-9F04-2F885114A1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764099" cy="1558212"/>
          </a:xfrm>
          <a:custGeom>
            <a:avLst/>
            <a:gdLst>
              <a:gd name="connsiteX0" fmla="*/ 0 w 1764099"/>
              <a:gd name="connsiteY0" fmla="*/ 0 h 1558212"/>
              <a:gd name="connsiteX1" fmla="*/ 1764099 w 1764099"/>
              <a:gd name="connsiteY1" fmla="*/ 0 h 1558212"/>
              <a:gd name="connsiteX2" fmla="*/ 1042087 w 1764099"/>
              <a:gd name="connsiteY2" fmla="*/ 1558212 h 1558212"/>
              <a:gd name="connsiteX3" fmla="*/ 0 w 1764099"/>
              <a:gd name="connsiteY3" fmla="*/ 1558212 h 1558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64099" h="1558212">
                <a:moveTo>
                  <a:pt x="0" y="0"/>
                </a:moveTo>
                <a:lnTo>
                  <a:pt x="1764099" y="0"/>
                </a:lnTo>
                <a:lnTo>
                  <a:pt x="1042087" y="1558212"/>
                </a:lnTo>
                <a:lnTo>
                  <a:pt x="0" y="155821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18046FB-44EA-4FD8-A585-EA09A319B2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1691640"/>
            <a:ext cx="12191999" cy="5166360"/>
          </a:xfrm>
          <a:custGeom>
            <a:avLst/>
            <a:gdLst>
              <a:gd name="connsiteX0" fmla="*/ 0 w 12191999"/>
              <a:gd name="connsiteY0" fmla="*/ 0 h 5166360"/>
              <a:gd name="connsiteX1" fmla="*/ 1822388 w 12191999"/>
              <a:gd name="connsiteY1" fmla="*/ 0 h 5166360"/>
              <a:gd name="connsiteX2" fmla="*/ 6468290 w 12191999"/>
              <a:gd name="connsiteY2" fmla="*/ 0 h 5166360"/>
              <a:gd name="connsiteX3" fmla="*/ 7796394 w 12191999"/>
              <a:gd name="connsiteY3" fmla="*/ 0 h 5166360"/>
              <a:gd name="connsiteX4" fmla="*/ 8376834 w 12191999"/>
              <a:gd name="connsiteY4" fmla="*/ 0 h 5166360"/>
              <a:gd name="connsiteX5" fmla="*/ 9704938 w 12191999"/>
              <a:gd name="connsiteY5" fmla="*/ 0 h 5166360"/>
              <a:gd name="connsiteX6" fmla="*/ 9704938 w 12191999"/>
              <a:gd name="connsiteY6" fmla="*/ 2 h 5166360"/>
              <a:gd name="connsiteX7" fmla="*/ 10283456 w 12191999"/>
              <a:gd name="connsiteY7" fmla="*/ 2 h 5166360"/>
              <a:gd name="connsiteX8" fmla="*/ 10863897 w 12191999"/>
              <a:gd name="connsiteY8" fmla="*/ 2 h 5166360"/>
              <a:gd name="connsiteX9" fmla="*/ 12191999 w 12191999"/>
              <a:gd name="connsiteY9" fmla="*/ 2 h 5166360"/>
              <a:gd name="connsiteX10" fmla="*/ 12191999 w 12191999"/>
              <a:gd name="connsiteY10" fmla="*/ 5166360 h 5166360"/>
              <a:gd name="connsiteX11" fmla="*/ 0 w 12191999"/>
              <a:gd name="connsiteY11" fmla="*/ 5166360 h 5166360"/>
              <a:gd name="connsiteX12" fmla="*/ 0 w 12191999"/>
              <a:gd name="connsiteY12" fmla="*/ 2604436 h 5166360"/>
              <a:gd name="connsiteX13" fmla="*/ 862341 w 12191999"/>
              <a:gd name="connsiteY13" fmla="*/ 743371 h 5166360"/>
              <a:gd name="connsiteX14" fmla="*/ 0 w 12191999"/>
              <a:gd name="connsiteY14" fmla="*/ 743371 h 5166360"/>
              <a:gd name="connsiteX15" fmla="*/ 0 w 12191999"/>
              <a:gd name="connsiteY15" fmla="*/ 742508 h 5166360"/>
              <a:gd name="connsiteX16" fmla="*/ 92826 w 12191999"/>
              <a:gd name="connsiteY16" fmla="*/ 742508 h 5166360"/>
              <a:gd name="connsiteX17" fmla="*/ 406486 w 12191999"/>
              <a:gd name="connsiteY17" fmla="*/ 742508 h 5166360"/>
              <a:gd name="connsiteX18" fmla="*/ 406486 w 12191999"/>
              <a:gd name="connsiteY18" fmla="*/ 742507 h 5166360"/>
              <a:gd name="connsiteX19" fmla="*/ 862741 w 12191999"/>
              <a:gd name="connsiteY19" fmla="*/ 742507 h 5166360"/>
              <a:gd name="connsiteX20" fmla="*/ 1206388 w 12191999"/>
              <a:gd name="connsiteY20" fmla="*/ 864 h 5166360"/>
              <a:gd name="connsiteX21" fmla="*/ 748500 w 12191999"/>
              <a:gd name="connsiteY21" fmla="*/ 864 h 5166360"/>
              <a:gd name="connsiteX22" fmla="*/ 0 w 12191999"/>
              <a:gd name="connsiteY22" fmla="*/ 864 h 5166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1999" h="5166360">
                <a:moveTo>
                  <a:pt x="0" y="0"/>
                </a:moveTo>
                <a:lnTo>
                  <a:pt x="1822388" y="0"/>
                </a:lnTo>
                <a:lnTo>
                  <a:pt x="6468290" y="0"/>
                </a:lnTo>
                <a:lnTo>
                  <a:pt x="7796394" y="0"/>
                </a:lnTo>
                <a:lnTo>
                  <a:pt x="8376834" y="0"/>
                </a:lnTo>
                <a:lnTo>
                  <a:pt x="9704938" y="0"/>
                </a:lnTo>
                <a:lnTo>
                  <a:pt x="9704938" y="2"/>
                </a:lnTo>
                <a:lnTo>
                  <a:pt x="10283456" y="2"/>
                </a:lnTo>
                <a:lnTo>
                  <a:pt x="10863897" y="2"/>
                </a:lnTo>
                <a:lnTo>
                  <a:pt x="12191999" y="2"/>
                </a:lnTo>
                <a:lnTo>
                  <a:pt x="12191999" y="5166360"/>
                </a:lnTo>
                <a:lnTo>
                  <a:pt x="0" y="5166360"/>
                </a:lnTo>
                <a:lnTo>
                  <a:pt x="0" y="2604436"/>
                </a:lnTo>
                <a:lnTo>
                  <a:pt x="862341" y="743371"/>
                </a:lnTo>
                <a:lnTo>
                  <a:pt x="0" y="743371"/>
                </a:lnTo>
                <a:lnTo>
                  <a:pt x="0" y="742508"/>
                </a:lnTo>
                <a:lnTo>
                  <a:pt x="92826" y="742508"/>
                </a:lnTo>
                <a:lnTo>
                  <a:pt x="406486" y="742508"/>
                </a:lnTo>
                <a:lnTo>
                  <a:pt x="406486" y="742507"/>
                </a:lnTo>
                <a:lnTo>
                  <a:pt x="862741" y="742507"/>
                </a:lnTo>
                <a:lnTo>
                  <a:pt x="1206388" y="864"/>
                </a:lnTo>
                <a:lnTo>
                  <a:pt x="748500" y="864"/>
                </a:lnTo>
                <a:lnTo>
                  <a:pt x="0" y="864"/>
                </a:lnTo>
                <a:close/>
              </a:path>
            </a:pathLst>
          </a:custGeom>
          <a:solidFill>
            <a:srgbClr val="A6A6A6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79F5F2B-8B58-4140-AE6A-51F6C67B18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691641"/>
            <a:ext cx="971654" cy="2096979"/>
          </a:xfrm>
          <a:custGeom>
            <a:avLst/>
            <a:gdLst>
              <a:gd name="connsiteX0" fmla="*/ 0 w 971654"/>
              <a:gd name="connsiteY0" fmla="*/ 0 h 2096979"/>
              <a:gd name="connsiteX1" fmla="*/ 971654 w 971654"/>
              <a:gd name="connsiteY1" fmla="*/ 0 h 2096979"/>
              <a:gd name="connsiteX2" fmla="*/ 0 w 971654"/>
              <a:gd name="connsiteY2" fmla="*/ 2096979 h 2096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71654" h="2096979">
                <a:moveTo>
                  <a:pt x="0" y="0"/>
                </a:moveTo>
                <a:lnTo>
                  <a:pt x="971654" y="0"/>
                </a:lnTo>
                <a:lnTo>
                  <a:pt x="0" y="2096979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070" y="1920240"/>
            <a:ext cx="11408095" cy="4868186"/>
          </a:xfrm>
        </p:spPr>
        <p:txBody>
          <a:bodyPr anchor="t">
            <a:normAutofit/>
          </a:bodyPr>
          <a:lstStyle/>
          <a:p>
            <a:pPr marL="0" indent="0">
              <a:buNone/>
            </a:pPr>
            <a:r>
              <a:rPr lang="fr-FR" sz="13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marL="0" indent="0">
              <a:buNone/>
            </a:pPr>
            <a:endParaRPr lang="fr-FR" sz="1300" b="1" u="sng" dirty="0">
              <a:latin typeface="Verdana" panose="020B060403050404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fr-FR" sz="1300" b="1" u="sng" dirty="0">
              <a:effectLst/>
              <a:latin typeface="Verdana" panose="020B060403050404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fr-FR" sz="2400" b="1" u="sng" dirty="0">
                <a:latin typeface="Verdana" panose="020B0604030504040204" pitchFamily="34" charset="0"/>
                <a:cs typeface="Times New Roman" panose="02020603050405020304" pitchFamily="18" charset="0"/>
              </a:rPr>
              <a:t>Méthode pour enregistrer une opération</a:t>
            </a:r>
          </a:p>
          <a:p>
            <a:pPr marL="0" indent="0">
              <a:buNone/>
            </a:pPr>
            <a:endParaRPr lang="fr-FR" sz="2400" b="1" u="sng" dirty="0">
              <a:effectLst/>
              <a:latin typeface="Verdana" panose="020B0604030504040204" pitchFamily="34" charset="0"/>
            </a:endParaRPr>
          </a:p>
          <a:p>
            <a:pPr algn="just"/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	- 1</a:t>
            </a:r>
            <a:r>
              <a:rPr lang="fr-FR" sz="1800" b="1" baseline="30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ère</a:t>
            </a:r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étape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entifier les comptes concernés par le flux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	- </a:t>
            </a:r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fr-FR" sz="1800" b="1" baseline="30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ème</a:t>
            </a:r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étape.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 poser la question pour chaque compte trouvé : augmente-t-il ou diminue-t-il dans le contexte présenté ?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endParaRPr lang="fr-FR" sz="1300" dirty="0"/>
          </a:p>
        </p:txBody>
      </p:sp>
    </p:spTree>
    <p:extLst>
      <p:ext uri="{BB962C8B-B14F-4D97-AF65-F5344CB8AC3E}">
        <p14:creationId xmlns:p14="http://schemas.microsoft.com/office/powerpoint/2010/main" val="56404988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3363" y="365760"/>
            <a:ext cx="9367203" cy="1188720"/>
          </a:xfrm>
        </p:spPr>
        <p:txBody>
          <a:bodyPr>
            <a:normAutofit/>
          </a:bodyPr>
          <a:lstStyle/>
          <a:p>
            <a:r>
              <a:rPr lang="fr-FR" dirty="0"/>
              <a:t>Comptabilisation - Méthode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CB4857B-ED7C-444D-9F04-2F885114A1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764099" cy="1558212"/>
          </a:xfrm>
          <a:custGeom>
            <a:avLst/>
            <a:gdLst>
              <a:gd name="connsiteX0" fmla="*/ 0 w 1764099"/>
              <a:gd name="connsiteY0" fmla="*/ 0 h 1558212"/>
              <a:gd name="connsiteX1" fmla="*/ 1764099 w 1764099"/>
              <a:gd name="connsiteY1" fmla="*/ 0 h 1558212"/>
              <a:gd name="connsiteX2" fmla="*/ 1042087 w 1764099"/>
              <a:gd name="connsiteY2" fmla="*/ 1558212 h 1558212"/>
              <a:gd name="connsiteX3" fmla="*/ 0 w 1764099"/>
              <a:gd name="connsiteY3" fmla="*/ 1558212 h 1558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64099" h="1558212">
                <a:moveTo>
                  <a:pt x="0" y="0"/>
                </a:moveTo>
                <a:lnTo>
                  <a:pt x="1764099" y="0"/>
                </a:lnTo>
                <a:lnTo>
                  <a:pt x="1042087" y="1558212"/>
                </a:lnTo>
                <a:lnTo>
                  <a:pt x="0" y="155821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18046FB-44EA-4FD8-A585-EA09A319B2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1691640"/>
            <a:ext cx="12191999" cy="5166360"/>
          </a:xfrm>
          <a:custGeom>
            <a:avLst/>
            <a:gdLst>
              <a:gd name="connsiteX0" fmla="*/ 0 w 12191999"/>
              <a:gd name="connsiteY0" fmla="*/ 0 h 5166360"/>
              <a:gd name="connsiteX1" fmla="*/ 1822388 w 12191999"/>
              <a:gd name="connsiteY1" fmla="*/ 0 h 5166360"/>
              <a:gd name="connsiteX2" fmla="*/ 6468290 w 12191999"/>
              <a:gd name="connsiteY2" fmla="*/ 0 h 5166360"/>
              <a:gd name="connsiteX3" fmla="*/ 7796394 w 12191999"/>
              <a:gd name="connsiteY3" fmla="*/ 0 h 5166360"/>
              <a:gd name="connsiteX4" fmla="*/ 8376834 w 12191999"/>
              <a:gd name="connsiteY4" fmla="*/ 0 h 5166360"/>
              <a:gd name="connsiteX5" fmla="*/ 9704938 w 12191999"/>
              <a:gd name="connsiteY5" fmla="*/ 0 h 5166360"/>
              <a:gd name="connsiteX6" fmla="*/ 9704938 w 12191999"/>
              <a:gd name="connsiteY6" fmla="*/ 2 h 5166360"/>
              <a:gd name="connsiteX7" fmla="*/ 10283456 w 12191999"/>
              <a:gd name="connsiteY7" fmla="*/ 2 h 5166360"/>
              <a:gd name="connsiteX8" fmla="*/ 10863897 w 12191999"/>
              <a:gd name="connsiteY8" fmla="*/ 2 h 5166360"/>
              <a:gd name="connsiteX9" fmla="*/ 12191999 w 12191999"/>
              <a:gd name="connsiteY9" fmla="*/ 2 h 5166360"/>
              <a:gd name="connsiteX10" fmla="*/ 12191999 w 12191999"/>
              <a:gd name="connsiteY10" fmla="*/ 5166360 h 5166360"/>
              <a:gd name="connsiteX11" fmla="*/ 0 w 12191999"/>
              <a:gd name="connsiteY11" fmla="*/ 5166360 h 5166360"/>
              <a:gd name="connsiteX12" fmla="*/ 0 w 12191999"/>
              <a:gd name="connsiteY12" fmla="*/ 2604436 h 5166360"/>
              <a:gd name="connsiteX13" fmla="*/ 862341 w 12191999"/>
              <a:gd name="connsiteY13" fmla="*/ 743371 h 5166360"/>
              <a:gd name="connsiteX14" fmla="*/ 0 w 12191999"/>
              <a:gd name="connsiteY14" fmla="*/ 743371 h 5166360"/>
              <a:gd name="connsiteX15" fmla="*/ 0 w 12191999"/>
              <a:gd name="connsiteY15" fmla="*/ 742508 h 5166360"/>
              <a:gd name="connsiteX16" fmla="*/ 92826 w 12191999"/>
              <a:gd name="connsiteY16" fmla="*/ 742508 h 5166360"/>
              <a:gd name="connsiteX17" fmla="*/ 406486 w 12191999"/>
              <a:gd name="connsiteY17" fmla="*/ 742508 h 5166360"/>
              <a:gd name="connsiteX18" fmla="*/ 406486 w 12191999"/>
              <a:gd name="connsiteY18" fmla="*/ 742507 h 5166360"/>
              <a:gd name="connsiteX19" fmla="*/ 862741 w 12191999"/>
              <a:gd name="connsiteY19" fmla="*/ 742507 h 5166360"/>
              <a:gd name="connsiteX20" fmla="*/ 1206388 w 12191999"/>
              <a:gd name="connsiteY20" fmla="*/ 864 h 5166360"/>
              <a:gd name="connsiteX21" fmla="*/ 748500 w 12191999"/>
              <a:gd name="connsiteY21" fmla="*/ 864 h 5166360"/>
              <a:gd name="connsiteX22" fmla="*/ 0 w 12191999"/>
              <a:gd name="connsiteY22" fmla="*/ 864 h 5166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1999" h="5166360">
                <a:moveTo>
                  <a:pt x="0" y="0"/>
                </a:moveTo>
                <a:lnTo>
                  <a:pt x="1822388" y="0"/>
                </a:lnTo>
                <a:lnTo>
                  <a:pt x="6468290" y="0"/>
                </a:lnTo>
                <a:lnTo>
                  <a:pt x="7796394" y="0"/>
                </a:lnTo>
                <a:lnTo>
                  <a:pt x="8376834" y="0"/>
                </a:lnTo>
                <a:lnTo>
                  <a:pt x="9704938" y="0"/>
                </a:lnTo>
                <a:lnTo>
                  <a:pt x="9704938" y="2"/>
                </a:lnTo>
                <a:lnTo>
                  <a:pt x="10283456" y="2"/>
                </a:lnTo>
                <a:lnTo>
                  <a:pt x="10863897" y="2"/>
                </a:lnTo>
                <a:lnTo>
                  <a:pt x="12191999" y="2"/>
                </a:lnTo>
                <a:lnTo>
                  <a:pt x="12191999" y="5166360"/>
                </a:lnTo>
                <a:lnTo>
                  <a:pt x="0" y="5166360"/>
                </a:lnTo>
                <a:lnTo>
                  <a:pt x="0" y="2604436"/>
                </a:lnTo>
                <a:lnTo>
                  <a:pt x="862341" y="743371"/>
                </a:lnTo>
                <a:lnTo>
                  <a:pt x="0" y="743371"/>
                </a:lnTo>
                <a:lnTo>
                  <a:pt x="0" y="742508"/>
                </a:lnTo>
                <a:lnTo>
                  <a:pt x="92826" y="742508"/>
                </a:lnTo>
                <a:lnTo>
                  <a:pt x="406486" y="742508"/>
                </a:lnTo>
                <a:lnTo>
                  <a:pt x="406486" y="742507"/>
                </a:lnTo>
                <a:lnTo>
                  <a:pt x="862741" y="742507"/>
                </a:lnTo>
                <a:lnTo>
                  <a:pt x="1206388" y="864"/>
                </a:lnTo>
                <a:lnTo>
                  <a:pt x="748500" y="864"/>
                </a:lnTo>
                <a:lnTo>
                  <a:pt x="0" y="864"/>
                </a:lnTo>
                <a:close/>
              </a:path>
            </a:pathLst>
          </a:custGeom>
          <a:solidFill>
            <a:srgbClr val="A6A6A6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79F5F2B-8B58-4140-AE6A-51F6C67B18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691641"/>
            <a:ext cx="971654" cy="2096979"/>
          </a:xfrm>
          <a:custGeom>
            <a:avLst/>
            <a:gdLst>
              <a:gd name="connsiteX0" fmla="*/ 0 w 971654"/>
              <a:gd name="connsiteY0" fmla="*/ 0 h 2096979"/>
              <a:gd name="connsiteX1" fmla="*/ 971654 w 971654"/>
              <a:gd name="connsiteY1" fmla="*/ 0 h 2096979"/>
              <a:gd name="connsiteX2" fmla="*/ 0 w 971654"/>
              <a:gd name="connsiteY2" fmla="*/ 2096979 h 2096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71654" h="2096979">
                <a:moveTo>
                  <a:pt x="0" y="0"/>
                </a:moveTo>
                <a:lnTo>
                  <a:pt x="971654" y="0"/>
                </a:lnTo>
                <a:lnTo>
                  <a:pt x="0" y="2096979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070" y="1920240"/>
            <a:ext cx="11408095" cy="4868186"/>
          </a:xfrm>
        </p:spPr>
        <p:txBody>
          <a:bodyPr anchor="t">
            <a:normAutofit/>
          </a:bodyPr>
          <a:lstStyle/>
          <a:p>
            <a:pPr marL="0" indent="0">
              <a:buNone/>
            </a:pPr>
            <a:r>
              <a:rPr lang="fr-FR" sz="13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marL="0" indent="0">
              <a:buNone/>
            </a:pPr>
            <a:endParaRPr lang="fr-FR" sz="1300" b="1" u="sng" dirty="0">
              <a:latin typeface="Verdana" panose="020B060403050404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fr-FR" sz="1300" b="1" u="sng" dirty="0">
              <a:effectLst/>
              <a:latin typeface="Verdana" panose="020B060403050404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fr-FR" sz="2400" b="1" u="sng" dirty="0">
                <a:latin typeface="Verdana" panose="020B0604030504040204" pitchFamily="34" charset="0"/>
                <a:cs typeface="Times New Roman" panose="02020603050405020304" pitchFamily="18" charset="0"/>
              </a:rPr>
              <a:t>Méthode pour enregistrer une opération</a:t>
            </a:r>
          </a:p>
          <a:p>
            <a:pPr marL="0" indent="0">
              <a:buNone/>
            </a:pPr>
            <a:endParaRPr lang="fr-FR" sz="2400" b="1" u="sng" dirty="0">
              <a:effectLst/>
              <a:latin typeface="Verdana" panose="020B0604030504040204" pitchFamily="34" charset="0"/>
            </a:endParaRPr>
          </a:p>
          <a:p>
            <a:pPr algn="just"/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	- 1</a:t>
            </a:r>
            <a:r>
              <a:rPr lang="fr-FR" sz="1800" b="1" baseline="30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ère</a:t>
            </a:r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étape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entifier les comptes concernés par le flux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	- </a:t>
            </a:r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fr-FR" sz="1800" b="1" baseline="30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ème</a:t>
            </a:r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étape.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 poser la question pour chaque compte trouvé : augmente-t-il ou diminue-t-il dans le contexte présenté ?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endParaRPr lang="fr-FR" sz="1300" dirty="0"/>
          </a:p>
        </p:txBody>
      </p:sp>
    </p:spTree>
    <p:extLst>
      <p:ext uri="{BB962C8B-B14F-4D97-AF65-F5344CB8AC3E}">
        <p14:creationId xmlns:p14="http://schemas.microsoft.com/office/powerpoint/2010/main" val="2500649885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100EDD19-6802-4EC3-95CE-CFFAB042C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fr-FR" sz="5400" dirty="0"/>
              <a:t>Comptabilisation – Cas UP 2</a:t>
            </a:r>
          </a:p>
        </p:txBody>
      </p:sp>
      <p:sp>
        <p:nvSpPr>
          <p:cNvPr id="19" name="sketch line">
            <a:extLst>
              <a:ext uri="{FF2B5EF4-FFF2-40B4-BE49-F238E27FC236}">
                <a16:creationId xmlns:a16="http://schemas.microsoft.com/office/drawing/2014/main" id="{DB17E863-922E-4C26-BD64-E8FD41D286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9036" y="1677373"/>
            <a:ext cx="10853928" cy="18288"/>
          </a:xfrm>
          <a:custGeom>
            <a:avLst/>
            <a:gdLst>
              <a:gd name="connsiteX0" fmla="*/ 0 w 10853928"/>
              <a:gd name="connsiteY0" fmla="*/ 0 h 18288"/>
              <a:gd name="connsiteX1" fmla="*/ 461292 w 10853928"/>
              <a:gd name="connsiteY1" fmla="*/ 0 h 18288"/>
              <a:gd name="connsiteX2" fmla="*/ 1139662 w 10853928"/>
              <a:gd name="connsiteY2" fmla="*/ 0 h 18288"/>
              <a:gd name="connsiteX3" fmla="*/ 1926572 w 10853928"/>
              <a:gd name="connsiteY3" fmla="*/ 0 h 18288"/>
              <a:gd name="connsiteX4" fmla="*/ 2279325 w 10853928"/>
              <a:gd name="connsiteY4" fmla="*/ 0 h 18288"/>
              <a:gd name="connsiteX5" fmla="*/ 2632078 w 10853928"/>
              <a:gd name="connsiteY5" fmla="*/ 0 h 18288"/>
              <a:gd name="connsiteX6" fmla="*/ 3527527 w 10853928"/>
              <a:gd name="connsiteY6" fmla="*/ 0 h 18288"/>
              <a:gd name="connsiteX7" fmla="*/ 4205897 w 10853928"/>
              <a:gd name="connsiteY7" fmla="*/ 0 h 18288"/>
              <a:gd name="connsiteX8" fmla="*/ 4558650 w 10853928"/>
              <a:gd name="connsiteY8" fmla="*/ 0 h 18288"/>
              <a:gd name="connsiteX9" fmla="*/ 5237020 w 10853928"/>
              <a:gd name="connsiteY9" fmla="*/ 0 h 18288"/>
              <a:gd name="connsiteX10" fmla="*/ 6132469 w 10853928"/>
              <a:gd name="connsiteY10" fmla="*/ 0 h 18288"/>
              <a:gd name="connsiteX11" fmla="*/ 6702301 w 10853928"/>
              <a:gd name="connsiteY11" fmla="*/ 0 h 18288"/>
              <a:gd name="connsiteX12" fmla="*/ 7272132 w 10853928"/>
              <a:gd name="connsiteY12" fmla="*/ 0 h 18288"/>
              <a:gd name="connsiteX13" fmla="*/ 7950502 w 10853928"/>
              <a:gd name="connsiteY13" fmla="*/ 0 h 18288"/>
              <a:gd name="connsiteX14" fmla="*/ 8737412 w 10853928"/>
              <a:gd name="connsiteY14" fmla="*/ 0 h 18288"/>
              <a:gd name="connsiteX15" fmla="*/ 9524322 w 10853928"/>
              <a:gd name="connsiteY15" fmla="*/ 0 h 18288"/>
              <a:gd name="connsiteX16" fmla="*/ 10853928 w 10853928"/>
              <a:gd name="connsiteY16" fmla="*/ 0 h 18288"/>
              <a:gd name="connsiteX17" fmla="*/ 10853928 w 10853928"/>
              <a:gd name="connsiteY17" fmla="*/ 18288 h 18288"/>
              <a:gd name="connsiteX18" fmla="*/ 10392636 w 10853928"/>
              <a:gd name="connsiteY18" fmla="*/ 18288 h 18288"/>
              <a:gd name="connsiteX19" fmla="*/ 9497187 w 10853928"/>
              <a:gd name="connsiteY19" fmla="*/ 18288 h 18288"/>
              <a:gd name="connsiteX20" fmla="*/ 8818817 w 10853928"/>
              <a:gd name="connsiteY20" fmla="*/ 18288 h 18288"/>
              <a:gd name="connsiteX21" fmla="*/ 8466064 w 10853928"/>
              <a:gd name="connsiteY21" fmla="*/ 18288 h 18288"/>
              <a:gd name="connsiteX22" fmla="*/ 7787693 w 10853928"/>
              <a:gd name="connsiteY22" fmla="*/ 18288 h 18288"/>
              <a:gd name="connsiteX23" fmla="*/ 7217862 w 10853928"/>
              <a:gd name="connsiteY23" fmla="*/ 18288 h 18288"/>
              <a:gd name="connsiteX24" fmla="*/ 6648031 w 10853928"/>
              <a:gd name="connsiteY24" fmla="*/ 18288 h 18288"/>
              <a:gd name="connsiteX25" fmla="*/ 6078200 w 10853928"/>
              <a:gd name="connsiteY25" fmla="*/ 18288 h 18288"/>
              <a:gd name="connsiteX26" fmla="*/ 5508368 w 10853928"/>
              <a:gd name="connsiteY26" fmla="*/ 18288 h 18288"/>
              <a:gd name="connsiteX27" fmla="*/ 4721459 w 10853928"/>
              <a:gd name="connsiteY27" fmla="*/ 18288 h 18288"/>
              <a:gd name="connsiteX28" fmla="*/ 4043088 w 10853928"/>
              <a:gd name="connsiteY28" fmla="*/ 18288 h 18288"/>
              <a:gd name="connsiteX29" fmla="*/ 3690336 w 10853928"/>
              <a:gd name="connsiteY29" fmla="*/ 18288 h 18288"/>
              <a:gd name="connsiteX30" fmla="*/ 3120504 w 10853928"/>
              <a:gd name="connsiteY30" fmla="*/ 18288 h 18288"/>
              <a:gd name="connsiteX31" fmla="*/ 2333595 w 10853928"/>
              <a:gd name="connsiteY31" fmla="*/ 18288 h 18288"/>
              <a:gd name="connsiteX32" fmla="*/ 1872303 w 10853928"/>
              <a:gd name="connsiteY32" fmla="*/ 18288 h 18288"/>
              <a:gd name="connsiteX33" fmla="*/ 976854 w 10853928"/>
              <a:gd name="connsiteY33" fmla="*/ 18288 h 18288"/>
              <a:gd name="connsiteX34" fmla="*/ 0 w 10853928"/>
              <a:gd name="connsiteY34" fmla="*/ 18288 h 18288"/>
              <a:gd name="connsiteX35" fmla="*/ 0 w 10853928"/>
              <a:gd name="connsiteY35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853928" h="18288" fill="none" extrusionOk="0">
                <a:moveTo>
                  <a:pt x="0" y="0"/>
                </a:moveTo>
                <a:cubicBezTo>
                  <a:pt x="146993" y="-19076"/>
                  <a:pt x="347684" y="-4790"/>
                  <a:pt x="461292" y="0"/>
                </a:cubicBezTo>
                <a:cubicBezTo>
                  <a:pt x="574900" y="4790"/>
                  <a:pt x="808367" y="19821"/>
                  <a:pt x="1139662" y="0"/>
                </a:cubicBezTo>
                <a:cubicBezTo>
                  <a:pt x="1470957" y="-19821"/>
                  <a:pt x="1627405" y="5721"/>
                  <a:pt x="1926572" y="0"/>
                </a:cubicBezTo>
                <a:cubicBezTo>
                  <a:pt x="2225739" y="-5721"/>
                  <a:pt x="2137730" y="-3235"/>
                  <a:pt x="2279325" y="0"/>
                </a:cubicBezTo>
                <a:cubicBezTo>
                  <a:pt x="2420920" y="3235"/>
                  <a:pt x="2456518" y="9685"/>
                  <a:pt x="2632078" y="0"/>
                </a:cubicBezTo>
                <a:cubicBezTo>
                  <a:pt x="2807638" y="-9685"/>
                  <a:pt x="3211516" y="-43007"/>
                  <a:pt x="3527527" y="0"/>
                </a:cubicBezTo>
                <a:cubicBezTo>
                  <a:pt x="3843538" y="43007"/>
                  <a:pt x="4058833" y="22042"/>
                  <a:pt x="4205897" y="0"/>
                </a:cubicBezTo>
                <a:cubicBezTo>
                  <a:pt x="4352961" y="-22042"/>
                  <a:pt x="4474805" y="-11846"/>
                  <a:pt x="4558650" y="0"/>
                </a:cubicBezTo>
                <a:cubicBezTo>
                  <a:pt x="4642495" y="11846"/>
                  <a:pt x="5041928" y="-6069"/>
                  <a:pt x="5237020" y="0"/>
                </a:cubicBezTo>
                <a:cubicBezTo>
                  <a:pt x="5432112" y="6069"/>
                  <a:pt x="5943266" y="-17479"/>
                  <a:pt x="6132469" y="0"/>
                </a:cubicBezTo>
                <a:cubicBezTo>
                  <a:pt x="6321672" y="17479"/>
                  <a:pt x="6483872" y="26234"/>
                  <a:pt x="6702301" y="0"/>
                </a:cubicBezTo>
                <a:cubicBezTo>
                  <a:pt x="6920730" y="-26234"/>
                  <a:pt x="6991194" y="-15156"/>
                  <a:pt x="7272132" y="0"/>
                </a:cubicBezTo>
                <a:cubicBezTo>
                  <a:pt x="7553070" y="15156"/>
                  <a:pt x="7684444" y="-32961"/>
                  <a:pt x="7950502" y="0"/>
                </a:cubicBezTo>
                <a:cubicBezTo>
                  <a:pt x="8216560" y="32961"/>
                  <a:pt x="8493290" y="-10491"/>
                  <a:pt x="8737412" y="0"/>
                </a:cubicBezTo>
                <a:cubicBezTo>
                  <a:pt x="8981534" y="10491"/>
                  <a:pt x="9191586" y="-13899"/>
                  <a:pt x="9524322" y="0"/>
                </a:cubicBezTo>
                <a:cubicBezTo>
                  <a:pt x="9857058" y="13899"/>
                  <a:pt x="10297509" y="7485"/>
                  <a:pt x="10853928" y="0"/>
                </a:cubicBezTo>
                <a:cubicBezTo>
                  <a:pt x="10854574" y="4451"/>
                  <a:pt x="10854418" y="9226"/>
                  <a:pt x="10853928" y="18288"/>
                </a:cubicBezTo>
                <a:cubicBezTo>
                  <a:pt x="10691638" y="28522"/>
                  <a:pt x="10574319" y="29578"/>
                  <a:pt x="10392636" y="18288"/>
                </a:cubicBezTo>
                <a:cubicBezTo>
                  <a:pt x="10210953" y="6998"/>
                  <a:pt x="9836277" y="-16742"/>
                  <a:pt x="9497187" y="18288"/>
                </a:cubicBezTo>
                <a:cubicBezTo>
                  <a:pt x="9158097" y="53318"/>
                  <a:pt x="9119479" y="30714"/>
                  <a:pt x="8818817" y="18288"/>
                </a:cubicBezTo>
                <a:cubicBezTo>
                  <a:pt x="8518155" y="5863"/>
                  <a:pt x="8640037" y="6483"/>
                  <a:pt x="8466064" y="18288"/>
                </a:cubicBezTo>
                <a:cubicBezTo>
                  <a:pt x="8292091" y="30093"/>
                  <a:pt x="7997656" y="18914"/>
                  <a:pt x="7787693" y="18288"/>
                </a:cubicBezTo>
                <a:cubicBezTo>
                  <a:pt x="7577730" y="17662"/>
                  <a:pt x="7412468" y="21416"/>
                  <a:pt x="7217862" y="18288"/>
                </a:cubicBezTo>
                <a:cubicBezTo>
                  <a:pt x="7023256" y="15160"/>
                  <a:pt x="6898018" y="14824"/>
                  <a:pt x="6648031" y="18288"/>
                </a:cubicBezTo>
                <a:cubicBezTo>
                  <a:pt x="6398044" y="21752"/>
                  <a:pt x="6254402" y="38625"/>
                  <a:pt x="6078200" y="18288"/>
                </a:cubicBezTo>
                <a:cubicBezTo>
                  <a:pt x="5901998" y="-2049"/>
                  <a:pt x="5622886" y="3213"/>
                  <a:pt x="5508368" y="18288"/>
                </a:cubicBezTo>
                <a:cubicBezTo>
                  <a:pt x="5393850" y="33363"/>
                  <a:pt x="5036260" y="26830"/>
                  <a:pt x="4721459" y="18288"/>
                </a:cubicBezTo>
                <a:cubicBezTo>
                  <a:pt x="4406658" y="9746"/>
                  <a:pt x="4239221" y="41551"/>
                  <a:pt x="4043088" y="18288"/>
                </a:cubicBezTo>
                <a:cubicBezTo>
                  <a:pt x="3846955" y="-4975"/>
                  <a:pt x="3818802" y="34658"/>
                  <a:pt x="3690336" y="18288"/>
                </a:cubicBezTo>
                <a:cubicBezTo>
                  <a:pt x="3561870" y="1918"/>
                  <a:pt x="3265491" y="42194"/>
                  <a:pt x="3120504" y="18288"/>
                </a:cubicBezTo>
                <a:cubicBezTo>
                  <a:pt x="2975517" y="-5618"/>
                  <a:pt x="2720254" y="36673"/>
                  <a:pt x="2333595" y="18288"/>
                </a:cubicBezTo>
                <a:cubicBezTo>
                  <a:pt x="1946936" y="-97"/>
                  <a:pt x="2097241" y="5776"/>
                  <a:pt x="1872303" y="18288"/>
                </a:cubicBezTo>
                <a:cubicBezTo>
                  <a:pt x="1647365" y="30800"/>
                  <a:pt x="1282708" y="45380"/>
                  <a:pt x="976854" y="18288"/>
                </a:cubicBezTo>
                <a:cubicBezTo>
                  <a:pt x="671000" y="-8804"/>
                  <a:pt x="408401" y="-12775"/>
                  <a:pt x="0" y="18288"/>
                </a:cubicBezTo>
                <a:cubicBezTo>
                  <a:pt x="-213" y="9468"/>
                  <a:pt x="187" y="4459"/>
                  <a:pt x="0" y="0"/>
                </a:cubicBezTo>
                <a:close/>
              </a:path>
              <a:path w="10853928" h="18288" stroke="0" extrusionOk="0">
                <a:moveTo>
                  <a:pt x="0" y="0"/>
                </a:moveTo>
                <a:cubicBezTo>
                  <a:pt x="267322" y="15284"/>
                  <a:pt x="415388" y="-21048"/>
                  <a:pt x="569831" y="0"/>
                </a:cubicBezTo>
                <a:cubicBezTo>
                  <a:pt x="724274" y="21048"/>
                  <a:pt x="769333" y="-2353"/>
                  <a:pt x="922584" y="0"/>
                </a:cubicBezTo>
                <a:cubicBezTo>
                  <a:pt x="1075835" y="2353"/>
                  <a:pt x="1399490" y="-145"/>
                  <a:pt x="1818033" y="0"/>
                </a:cubicBezTo>
                <a:cubicBezTo>
                  <a:pt x="2236576" y="145"/>
                  <a:pt x="2145330" y="5482"/>
                  <a:pt x="2387864" y="0"/>
                </a:cubicBezTo>
                <a:cubicBezTo>
                  <a:pt x="2630398" y="-5482"/>
                  <a:pt x="2793207" y="18487"/>
                  <a:pt x="2957695" y="0"/>
                </a:cubicBezTo>
                <a:cubicBezTo>
                  <a:pt x="3122183" y="-18487"/>
                  <a:pt x="3579141" y="19003"/>
                  <a:pt x="3853144" y="0"/>
                </a:cubicBezTo>
                <a:cubicBezTo>
                  <a:pt x="4127147" y="-19003"/>
                  <a:pt x="4209857" y="12211"/>
                  <a:pt x="4314436" y="0"/>
                </a:cubicBezTo>
                <a:cubicBezTo>
                  <a:pt x="4419015" y="-12211"/>
                  <a:pt x="4762459" y="-17220"/>
                  <a:pt x="5209885" y="0"/>
                </a:cubicBezTo>
                <a:cubicBezTo>
                  <a:pt x="5657311" y="17220"/>
                  <a:pt x="5692663" y="-3290"/>
                  <a:pt x="6105335" y="0"/>
                </a:cubicBezTo>
                <a:cubicBezTo>
                  <a:pt x="6518007" y="3290"/>
                  <a:pt x="6455516" y="-5124"/>
                  <a:pt x="6783705" y="0"/>
                </a:cubicBezTo>
                <a:cubicBezTo>
                  <a:pt x="7111894" y="5124"/>
                  <a:pt x="7441941" y="-17829"/>
                  <a:pt x="7679154" y="0"/>
                </a:cubicBezTo>
                <a:cubicBezTo>
                  <a:pt x="7916367" y="17829"/>
                  <a:pt x="8102967" y="-24363"/>
                  <a:pt x="8248985" y="0"/>
                </a:cubicBezTo>
                <a:cubicBezTo>
                  <a:pt x="8395003" y="24363"/>
                  <a:pt x="8552393" y="25505"/>
                  <a:pt x="8818817" y="0"/>
                </a:cubicBezTo>
                <a:cubicBezTo>
                  <a:pt x="9085241" y="-25505"/>
                  <a:pt x="9411308" y="38000"/>
                  <a:pt x="9605726" y="0"/>
                </a:cubicBezTo>
                <a:cubicBezTo>
                  <a:pt x="9800144" y="-38000"/>
                  <a:pt x="10006468" y="-25741"/>
                  <a:pt x="10175558" y="0"/>
                </a:cubicBezTo>
                <a:cubicBezTo>
                  <a:pt x="10344648" y="25741"/>
                  <a:pt x="10696282" y="695"/>
                  <a:pt x="10853928" y="0"/>
                </a:cubicBezTo>
                <a:cubicBezTo>
                  <a:pt x="10853521" y="8690"/>
                  <a:pt x="10853774" y="14141"/>
                  <a:pt x="10853928" y="18288"/>
                </a:cubicBezTo>
                <a:cubicBezTo>
                  <a:pt x="10608124" y="24255"/>
                  <a:pt x="10343415" y="22307"/>
                  <a:pt x="10067018" y="18288"/>
                </a:cubicBezTo>
                <a:cubicBezTo>
                  <a:pt x="9790621" y="14270"/>
                  <a:pt x="9843266" y="3564"/>
                  <a:pt x="9714266" y="18288"/>
                </a:cubicBezTo>
                <a:cubicBezTo>
                  <a:pt x="9585266" y="33012"/>
                  <a:pt x="9379484" y="1875"/>
                  <a:pt x="9252974" y="18288"/>
                </a:cubicBezTo>
                <a:cubicBezTo>
                  <a:pt x="9126464" y="34701"/>
                  <a:pt x="8580678" y="-4904"/>
                  <a:pt x="8357525" y="18288"/>
                </a:cubicBezTo>
                <a:cubicBezTo>
                  <a:pt x="8134372" y="41480"/>
                  <a:pt x="7903199" y="26458"/>
                  <a:pt x="7679154" y="18288"/>
                </a:cubicBezTo>
                <a:cubicBezTo>
                  <a:pt x="7455109" y="10118"/>
                  <a:pt x="7435944" y="27109"/>
                  <a:pt x="7217862" y="18288"/>
                </a:cubicBezTo>
                <a:cubicBezTo>
                  <a:pt x="6999780" y="9467"/>
                  <a:pt x="6680409" y="18985"/>
                  <a:pt x="6539492" y="18288"/>
                </a:cubicBezTo>
                <a:cubicBezTo>
                  <a:pt x="6398575" y="17592"/>
                  <a:pt x="6312077" y="33018"/>
                  <a:pt x="6186739" y="18288"/>
                </a:cubicBezTo>
                <a:cubicBezTo>
                  <a:pt x="6061401" y="3558"/>
                  <a:pt x="5947033" y="12075"/>
                  <a:pt x="5833986" y="18288"/>
                </a:cubicBezTo>
                <a:cubicBezTo>
                  <a:pt x="5720939" y="24501"/>
                  <a:pt x="5482226" y="8586"/>
                  <a:pt x="5155616" y="18288"/>
                </a:cubicBezTo>
                <a:cubicBezTo>
                  <a:pt x="4829006" y="27991"/>
                  <a:pt x="4841274" y="29316"/>
                  <a:pt x="4694324" y="18288"/>
                </a:cubicBezTo>
                <a:cubicBezTo>
                  <a:pt x="4547374" y="7260"/>
                  <a:pt x="4077675" y="7013"/>
                  <a:pt x="3907414" y="18288"/>
                </a:cubicBezTo>
                <a:cubicBezTo>
                  <a:pt x="3737153" y="29564"/>
                  <a:pt x="3538393" y="21630"/>
                  <a:pt x="3446122" y="18288"/>
                </a:cubicBezTo>
                <a:cubicBezTo>
                  <a:pt x="3353851" y="14946"/>
                  <a:pt x="2990320" y="-8091"/>
                  <a:pt x="2659212" y="18288"/>
                </a:cubicBezTo>
                <a:cubicBezTo>
                  <a:pt x="2328104" y="44667"/>
                  <a:pt x="2427653" y="9607"/>
                  <a:pt x="2306460" y="18288"/>
                </a:cubicBezTo>
                <a:cubicBezTo>
                  <a:pt x="2185267" y="26969"/>
                  <a:pt x="1719763" y="3717"/>
                  <a:pt x="1519550" y="18288"/>
                </a:cubicBezTo>
                <a:cubicBezTo>
                  <a:pt x="1319337" y="32860"/>
                  <a:pt x="1167371" y="17040"/>
                  <a:pt x="1058258" y="18288"/>
                </a:cubicBezTo>
                <a:cubicBezTo>
                  <a:pt x="949145" y="19536"/>
                  <a:pt x="780234" y="31447"/>
                  <a:pt x="705505" y="18288"/>
                </a:cubicBezTo>
                <a:cubicBezTo>
                  <a:pt x="630776" y="5129"/>
                  <a:pt x="215796" y="30056"/>
                  <a:pt x="0" y="18288"/>
                </a:cubicBezTo>
                <a:cubicBezTo>
                  <a:pt x="-53" y="11301"/>
                  <a:pt x="-649" y="7756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0392" y="1847088"/>
            <a:ext cx="11711031" cy="4877862"/>
          </a:xfrm>
        </p:spPr>
        <p:txBody>
          <a:bodyPr>
            <a:normAutofit fontScale="47500" lnSpcReduction="20000"/>
          </a:bodyPr>
          <a:lstStyle/>
          <a:p>
            <a:pPr marL="0" indent="0">
              <a:buNone/>
            </a:pPr>
            <a:r>
              <a:rPr lang="fr-FR" sz="1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22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1)</a:t>
            </a:r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L’entreprise achète, en réglant par chèque, pour 100 000 € de marchandises.</a:t>
            </a:r>
          </a:p>
          <a:p>
            <a:pPr algn="just"/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achat de marchandises (607) augmente ou diminue ? =&gt; Il </a:t>
            </a:r>
          </a:p>
          <a:p>
            <a:pPr algn="just"/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banque (512) augmente ou diminue ? =&gt; Il</a:t>
            </a:r>
          </a:p>
          <a:p>
            <a:pPr algn="just"/>
            <a:endParaRPr lang="fr-FR" sz="22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sz="22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2)</a:t>
            </a:r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L’entreprise achète, à crédit, pour 200 000 € de matières premières.</a:t>
            </a:r>
          </a:p>
          <a:p>
            <a:pPr algn="just"/>
            <a:r>
              <a:rPr lang="fr-FR" sz="22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Dans ce cas, le compte achat de matières 1</a:t>
            </a:r>
            <a:r>
              <a:rPr lang="fr-FR" sz="2200" baseline="30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ères</a:t>
            </a:r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(601), augmente ou diminue ? =&gt; Il</a:t>
            </a:r>
          </a:p>
          <a:p>
            <a:pPr algn="just"/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dettes fournisseurs (401), augmente ou diminue ? =&gt; Il</a:t>
            </a:r>
          </a:p>
          <a:p>
            <a:pPr algn="just"/>
            <a:endParaRPr lang="fr-FR" sz="22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sz="22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3) </a:t>
            </a:r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’entreprise perçoit 500 € d'intérêts suite à un placement effectué dans une banque.</a:t>
            </a:r>
          </a:p>
          <a:p>
            <a:pPr algn="just"/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intérêts reçus (76) augmente ou diminue ? =&gt; Il </a:t>
            </a:r>
          </a:p>
          <a:p>
            <a:pPr algn="just"/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banque (512) augmente ou diminue ? =&gt; Il</a:t>
            </a:r>
          </a:p>
          <a:p>
            <a:pPr algn="just"/>
            <a:endParaRPr lang="fr-FR" sz="22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sz="22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4)</a:t>
            </a:r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L’entreprise vend des produits finis, à crédit, pour 500 000 €.</a:t>
            </a:r>
          </a:p>
          <a:p>
            <a:pPr algn="just"/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vente de produits finis (701) augmente ou diminue ? =&gt; Il </a:t>
            </a:r>
          </a:p>
          <a:p>
            <a:pPr algn="just"/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clients (411) augmente ou diminue ? =&gt; Il</a:t>
            </a:r>
          </a:p>
          <a:p>
            <a:pPr algn="just"/>
            <a:endParaRPr lang="fr-FR" sz="22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sz="22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5) </a:t>
            </a:r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’entreprise achète un véhicule de transport, au comptant par chèque : 125 000 €.</a:t>
            </a:r>
          </a:p>
          <a:p>
            <a:pPr algn="just"/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achat de matériel de transport (2182) augmente ou diminue ? =&gt; Il </a:t>
            </a:r>
          </a:p>
          <a:p>
            <a:pPr algn="just"/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banque (512) augmente ou diminue ? =&gt; Il</a:t>
            </a:r>
          </a:p>
          <a:p>
            <a:endParaRPr lang="fr-FR" sz="1500" dirty="0"/>
          </a:p>
        </p:txBody>
      </p:sp>
    </p:spTree>
    <p:extLst>
      <p:ext uri="{BB962C8B-B14F-4D97-AF65-F5344CB8AC3E}">
        <p14:creationId xmlns:p14="http://schemas.microsoft.com/office/powerpoint/2010/main" val="277239708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100EDD19-6802-4EC3-95CE-CFFAB042C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fr-FR" sz="5400" dirty="0"/>
              <a:t>Comptabilisation – Correction UP2 </a:t>
            </a:r>
          </a:p>
        </p:txBody>
      </p:sp>
      <p:sp>
        <p:nvSpPr>
          <p:cNvPr id="19" name="sketch line">
            <a:extLst>
              <a:ext uri="{FF2B5EF4-FFF2-40B4-BE49-F238E27FC236}">
                <a16:creationId xmlns:a16="http://schemas.microsoft.com/office/drawing/2014/main" id="{DB17E863-922E-4C26-BD64-E8FD41D286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9036" y="1677373"/>
            <a:ext cx="10853928" cy="18288"/>
          </a:xfrm>
          <a:custGeom>
            <a:avLst/>
            <a:gdLst>
              <a:gd name="connsiteX0" fmla="*/ 0 w 10853928"/>
              <a:gd name="connsiteY0" fmla="*/ 0 h 18288"/>
              <a:gd name="connsiteX1" fmla="*/ 461292 w 10853928"/>
              <a:gd name="connsiteY1" fmla="*/ 0 h 18288"/>
              <a:gd name="connsiteX2" fmla="*/ 1139662 w 10853928"/>
              <a:gd name="connsiteY2" fmla="*/ 0 h 18288"/>
              <a:gd name="connsiteX3" fmla="*/ 1926572 w 10853928"/>
              <a:gd name="connsiteY3" fmla="*/ 0 h 18288"/>
              <a:gd name="connsiteX4" fmla="*/ 2279325 w 10853928"/>
              <a:gd name="connsiteY4" fmla="*/ 0 h 18288"/>
              <a:gd name="connsiteX5" fmla="*/ 2632078 w 10853928"/>
              <a:gd name="connsiteY5" fmla="*/ 0 h 18288"/>
              <a:gd name="connsiteX6" fmla="*/ 3527527 w 10853928"/>
              <a:gd name="connsiteY6" fmla="*/ 0 h 18288"/>
              <a:gd name="connsiteX7" fmla="*/ 4205897 w 10853928"/>
              <a:gd name="connsiteY7" fmla="*/ 0 h 18288"/>
              <a:gd name="connsiteX8" fmla="*/ 4558650 w 10853928"/>
              <a:gd name="connsiteY8" fmla="*/ 0 h 18288"/>
              <a:gd name="connsiteX9" fmla="*/ 5237020 w 10853928"/>
              <a:gd name="connsiteY9" fmla="*/ 0 h 18288"/>
              <a:gd name="connsiteX10" fmla="*/ 6132469 w 10853928"/>
              <a:gd name="connsiteY10" fmla="*/ 0 h 18288"/>
              <a:gd name="connsiteX11" fmla="*/ 6702301 w 10853928"/>
              <a:gd name="connsiteY11" fmla="*/ 0 h 18288"/>
              <a:gd name="connsiteX12" fmla="*/ 7272132 w 10853928"/>
              <a:gd name="connsiteY12" fmla="*/ 0 h 18288"/>
              <a:gd name="connsiteX13" fmla="*/ 7950502 w 10853928"/>
              <a:gd name="connsiteY13" fmla="*/ 0 h 18288"/>
              <a:gd name="connsiteX14" fmla="*/ 8737412 w 10853928"/>
              <a:gd name="connsiteY14" fmla="*/ 0 h 18288"/>
              <a:gd name="connsiteX15" fmla="*/ 9524322 w 10853928"/>
              <a:gd name="connsiteY15" fmla="*/ 0 h 18288"/>
              <a:gd name="connsiteX16" fmla="*/ 10853928 w 10853928"/>
              <a:gd name="connsiteY16" fmla="*/ 0 h 18288"/>
              <a:gd name="connsiteX17" fmla="*/ 10853928 w 10853928"/>
              <a:gd name="connsiteY17" fmla="*/ 18288 h 18288"/>
              <a:gd name="connsiteX18" fmla="*/ 10392636 w 10853928"/>
              <a:gd name="connsiteY18" fmla="*/ 18288 h 18288"/>
              <a:gd name="connsiteX19" fmla="*/ 9497187 w 10853928"/>
              <a:gd name="connsiteY19" fmla="*/ 18288 h 18288"/>
              <a:gd name="connsiteX20" fmla="*/ 8818817 w 10853928"/>
              <a:gd name="connsiteY20" fmla="*/ 18288 h 18288"/>
              <a:gd name="connsiteX21" fmla="*/ 8466064 w 10853928"/>
              <a:gd name="connsiteY21" fmla="*/ 18288 h 18288"/>
              <a:gd name="connsiteX22" fmla="*/ 7787693 w 10853928"/>
              <a:gd name="connsiteY22" fmla="*/ 18288 h 18288"/>
              <a:gd name="connsiteX23" fmla="*/ 7217862 w 10853928"/>
              <a:gd name="connsiteY23" fmla="*/ 18288 h 18288"/>
              <a:gd name="connsiteX24" fmla="*/ 6648031 w 10853928"/>
              <a:gd name="connsiteY24" fmla="*/ 18288 h 18288"/>
              <a:gd name="connsiteX25" fmla="*/ 6078200 w 10853928"/>
              <a:gd name="connsiteY25" fmla="*/ 18288 h 18288"/>
              <a:gd name="connsiteX26" fmla="*/ 5508368 w 10853928"/>
              <a:gd name="connsiteY26" fmla="*/ 18288 h 18288"/>
              <a:gd name="connsiteX27" fmla="*/ 4721459 w 10853928"/>
              <a:gd name="connsiteY27" fmla="*/ 18288 h 18288"/>
              <a:gd name="connsiteX28" fmla="*/ 4043088 w 10853928"/>
              <a:gd name="connsiteY28" fmla="*/ 18288 h 18288"/>
              <a:gd name="connsiteX29" fmla="*/ 3690336 w 10853928"/>
              <a:gd name="connsiteY29" fmla="*/ 18288 h 18288"/>
              <a:gd name="connsiteX30" fmla="*/ 3120504 w 10853928"/>
              <a:gd name="connsiteY30" fmla="*/ 18288 h 18288"/>
              <a:gd name="connsiteX31" fmla="*/ 2333595 w 10853928"/>
              <a:gd name="connsiteY31" fmla="*/ 18288 h 18288"/>
              <a:gd name="connsiteX32" fmla="*/ 1872303 w 10853928"/>
              <a:gd name="connsiteY32" fmla="*/ 18288 h 18288"/>
              <a:gd name="connsiteX33" fmla="*/ 976854 w 10853928"/>
              <a:gd name="connsiteY33" fmla="*/ 18288 h 18288"/>
              <a:gd name="connsiteX34" fmla="*/ 0 w 10853928"/>
              <a:gd name="connsiteY34" fmla="*/ 18288 h 18288"/>
              <a:gd name="connsiteX35" fmla="*/ 0 w 10853928"/>
              <a:gd name="connsiteY35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853928" h="18288" fill="none" extrusionOk="0">
                <a:moveTo>
                  <a:pt x="0" y="0"/>
                </a:moveTo>
                <a:cubicBezTo>
                  <a:pt x="146993" y="-19076"/>
                  <a:pt x="347684" y="-4790"/>
                  <a:pt x="461292" y="0"/>
                </a:cubicBezTo>
                <a:cubicBezTo>
                  <a:pt x="574900" y="4790"/>
                  <a:pt x="808367" y="19821"/>
                  <a:pt x="1139662" y="0"/>
                </a:cubicBezTo>
                <a:cubicBezTo>
                  <a:pt x="1470957" y="-19821"/>
                  <a:pt x="1627405" y="5721"/>
                  <a:pt x="1926572" y="0"/>
                </a:cubicBezTo>
                <a:cubicBezTo>
                  <a:pt x="2225739" y="-5721"/>
                  <a:pt x="2137730" y="-3235"/>
                  <a:pt x="2279325" y="0"/>
                </a:cubicBezTo>
                <a:cubicBezTo>
                  <a:pt x="2420920" y="3235"/>
                  <a:pt x="2456518" y="9685"/>
                  <a:pt x="2632078" y="0"/>
                </a:cubicBezTo>
                <a:cubicBezTo>
                  <a:pt x="2807638" y="-9685"/>
                  <a:pt x="3211516" y="-43007"/>
                  <a:pt x="3527527" y="0"/>
                </a:cubicBezTo>
                <a:cubicBezTo>
                  <a:pt x="3843538" y="43007"/>
                  <a:pt x="4058833" y="22042"/>
                  <a:pt x="4205897" y="0"/>
                </a:cubicBezTo>
                <a:cubicBezTo>
                  <a:pt x="4352961" y="-22042"/>
                  <a:pt x="4474805" y="-11846"/>
                  <a:pt x="4558650" y="0"/>
                </a:cubicBezTo>
                <a:cubicBezTo>
                  <a:pt x="4642495" y="11846"/>
                  <a:pt x="5041928" y="-6069"/>
                  <a:pt x="5237020" y="0"/>
                </a:cubicBezTo>
                <a:cubicBezTo>
                  <a:pt x="5432112" y="6069"/>
                  <a:pt x="5943266" y="-17479"/>
                  <a:pt x="6132469" y="0"/>
                </a:cubicBezTo>
                <a:cubicBezTo>
                  <a:pt x="6321672" y="17479"/>
                  <a:pt x="6483872" y="26234"/>
                  <a:pt x="6702301" y="0"/>
                </a:cubicBezTo>
                <a:cubicBezTo>
                  <a:pt x="6920730" y="-26234"/>
                  <a:pt x="6991194" y="-15156"/>
                  <a:pt x="7272132" y="0"/>
                </a:cubicBezTo>
                <a:cubicBezTo>
                  <a:pt x="7553070" y="15156"/>
                  <a:pt x="7684444" y="-32961"/>
                  <a:pt x="7950502" y="0"/>
                </a:cubicBezTo>
                <a:cubicBezTo>
                  <a:pt x="8216560" y="32961"/>
                  <a:pt x="8493290" y="-10491"/>
                  <a:pt x="8737412" y="0"/>
                </a:cubicBezTo>
                <a:cubicBezTo>
                  <a:pt x="8981534" y="10491"/>
                  <a:pt x="9191586" y="-13899"/>
                  <a:pt x="9524322" y="0"/>
                </a:cubicBezTo>
                <a:cubicBezTo>
                  <a:pt x="9857058" y="13899"/>
                  <a:pt x="10297509" y="7485"/>
                  <a:pt x="10853928" y="0"/>
                </a:cubicBezTo>
                <a:cubicBezTo>
                  <a:pt x="10854574" y="4451"/>
                  <a:pt x="10854418" y="9226"/>
                  <a:pt x="10853928" y="18288"/>
                </a:cubicBezTo>
                <a:cubicBezTo>
                  <a:pt x="10691638" y="28522"/>
                  <a:pt x="10574319" y="29578"/>
                  <a:pt x="10392636" y="18288"/>
                </a:cubicBezTo>
                <a:cubicBezTo>
                  <a:pt x="10210953" y="6998"/>
                  <a:pt x="9836277" y="-16742"/>
                  <a:pt x="9497187" y="18288"/>
                </a:cubicBezTo>
                <a:cubicBezTo>
                  <a:pt x="9158097" y="53318"/>
                  <a:pt x="9119479" y="30714"/>
                  <a:pt x="8818817" y="18288"/>
                </a:cubicBezTo>
                <a:cubicBezTo>
                  <a:pt x="8518155" y="5863"/>
                  <a:pt x="8640037" y="6483"/>
                  <a:pt x="8466064" y="18288"/>
                </a:cubicBezTo>
                <a:cubicBezTo>
                  <a:pt x="8292091" y="30093"/>
                  <a:pt x="7997656" y="18914"/>
                  <a:pt x="7787693" y="18288"/>
                </a:cubicBezTo>
                <a:cubicBezTo>
                  <a:pt x="7577730" y="17662"/>
                  <a:pt x="7412468" y="21416"/>
                  <a:pt x="7217862" y="18288"/>
                </a:cubicBezTo>
                <a:cubicBezTo>
                  <a:pt x="7023256" y="15160"/>
                  <a:pt x="6898018" y="14824"/>
                  <a:pt x="6648031" y="18288"/>
                </a:cubicBezTo>
                <a:cubicBezTo>
                  <a:pt x="6398044" y="21752"/>
                  <a:pt x="6254402" y="38625"/>
                  <a:pt x="6078200" y="18288"/>
                </a:cubicBezTo>
                <a:cubicBezTo>
                  <a:pt x="5901998" y="-2049"/>
                  <a:pt x="5622886" y="3213"/>
                  <a:pt x="5508368" y="18288"/>
                </a:cubicBezTo>
                <a:cubicBezTo>
                  <a:pt x="5393850" y="33363"/>
                  <a:pt x="5036260" y="26830"/>
                  <a:pt x="4721459" y="18288"/>
                </a:cubicBezTo>
                <a:cubicBezTo>
                  <a:pt x="4406658" y="9746"/>
                  <a:pt x="4239221" y="41551"/>
                  <a:pt x="4043088" y="18288"/>
                </a:cubicBezTo>
                <a:cubicBezTo>
                  <a:pt x="3846955" y="-4975"/>
                  <a:pt x="3818802" y="34658"/>
                  <a:pt x="3690336" y="18288"/>
                </a:cubicBezTo>
                <a:cubicBezTo>
                  <a:pt x="3561870" y="1918"/>
                  <a:pt x="3265491" y="42194"/>
                  <a:pt x="3120504" y="18288"/>
                </a:cubicBezTo>
                <a:cubicBezTo>
                  <a:pt x="2975517" y="-5618"/>
                  <a:pt x="2720254" y="36673"/>
                  <a:pt x="2333595" y="18288"/>
                </a:cubicBezTo>
                <a:cubicBezTo>
                  <a:pt x="1946936" y="-97"/>
                  <a:pt x="2097241" y="5776"/>
                  <a:pt x="1872303" y="18288"/>
                </a:cubicBezTo>
                <a:cubicBezTo>
                  <a:pt x="1647365" y="30800"/>
                  <a:pt x="1282708" y="45380"/>
                  <a:pt x="976854" y="18288"/>
                </a:cubicBezTo>
                <a:cubicBezTo>
                  <a:pt x="671000" y="-8804"/>
                  <a:pt x="408401" y="-12775"/>
                  <a:pt x="0" y="18288"/>
                </a:cubicBezTo>
                <a:cubicBezTo>
                  <a:pt x="-213" y="9468"/>
                  <a:pt x="187" y="4459"/>
                  <a:pt x="0" y="0"/>
                </a:cubicBezTo>
                <a:close/>
              </a:path>
              <a:path w="10853928" h="18288" stroke="0" extrusionOk="0">
                <a:moveTo>
                  <a:pt x="0" y="0"/>
                </a:moveTo>
                <a:cubicBezTo>
                  <a:pt x="267322" y="15284"/>
                  <a:pt x="415388" y="-21048"/>
                  <a:pt x="569831" y="0"/>
                </a:cubicBezTo>
                <a:cubicBezTo>
                  <a:pt x="724274" y="21048"/>
                  <a:pt x="769333" y="-2353"/>
                  <a:pt x="922584" y="0"/>
                </a:cubicBezTo>
                <a:cubicBezTo>
                  <a:pt x="1075835" y="2353"/>
                  <a:pt x="1399490" y="-145"/>
                  <a:pt x="1818033" y="0"/>
                </a:cubicBezTo>
                <a:cubicBezTo>
                  <a:pt x="2236576" y="145"/>
                  <a:pt x="2145330" y="5482"/>
                  <a:pt x="2387864" y="0"/>
                </a:cubicBezTo>
                <a:cubicBezTo>
                  <a:pt x="2630398" y="-5482"/>
                  <a:pt x="2793207" y="18487"/>
                  <a:pt x="2957695" y="0"/>
                </a:cubicBezTo>
                <a:cubicBezTo>
                  <a:pt x="3122183" y="-18487"/>
                  <a:pt x="3579141" y="19003"/>
                  <a:pt x="3853144" y="0"/>
                </a:cubicBezTo>
                <a:cubicBezTo>
                  <a:pt x="4127147" y="-19003"/>
                  <a:pt x="4209857" y="12211"/>
                  <a:pt x="4314436" y="0"/>
                </a:cubicBezTo>
                <a:cubicBezTo>
                  <a:pt x="4419015" y="-12211"/>
                  <a:pt x="4762459" y="-17220"/>
                  <a:pt x="5209885" y="0"/>
                </a:cubicBezTo>
                <a:cubicBezTo>
                  <a:pt x="5657311" y="17220"/>
                  <a:pt x="5692663" y="-3290"/>
                  <a:pt x="6105335" y="0"/>
                </a:cubicBezTo>
                <a:cubicBezTo>
                  <a:pt x="6518007" y="3290"/>
                  <a:pt x="6455516" y="-5124"/>
                  <a:pt x="6783705" y="0"/>
                </a:cubicBezTo>
                <a:cubicBezTo>
                  <a:pt x="7111894" y="5124"/>
                  <a:pt x="7441941" y="-17829"/>
                  <a:pt x="7679154" y="0"/>
                </a:cubicBezTo>
                <a:cubicBezTo>
                  <a:pt x="7916367" y="17829"/>
                  <a:pt x="8102967" y="-24363"/>
                  <a:pt x="8248985" y="0"/>
                </a:cubicBezTo>
                <a:cubicBezTo>
                  <a:pt x="8395003" y="24363"/>
                  <a:pt x="8552393" y="25505"/>
                  <a:pt x="8818817" y="0"/>
                </a:cubicBezTo>
                <a:cubicBezTo>
                  <a:pt x="9085241" y="-25505"/>
                  <a:pt x="9411308" y="38000"/>
                  <a:pt x="9605726" y="0"/>
                </a:cubicBezTo>
                <a:cubicBezTo>
                  <a:pt x="9800144" y="-38000"/>
                  <a:pt x="10006468" y="-25741"/>
                  <a:pt x="10175558" y="0"/>
                </a:cubicBezTo>
                <a:cubicBezTo>
                  <a:pt x="10344648" y="25741"/>
                  <a:pt x="10696282" y="695"/>
                  <a:pt x="10853928" y="0"/>
                </a:cubicBezTo>
                <a:cubicBezTo>
                  <a:pt x="10853521" y="8690"/>
                  <a:pt x="10853774" y="14141"/>
                  <a:pt x="10853928" y="18288"/>
                </a:cubicBezTo>
                <a:cubicBezTo>
                  <a:pt x="10608124" y="24255"/>
                  <a:pt x="10343415" y="22307"/>
                  <a:pt x="10067018" y="18288"/>
                </a:cubicBezTo>
                <a:cubicBezTo>
                  <a:pt x="9790621" y="14270"/>
                  <a:pt x="9843266" y="3564"/>
                  <a:pt x="9714266" y="18288"/>
                </a:cubicBezTo>
                <a:cubicBezTo>
                  <a:pt x="9585266" y="33012"/>
                  <a:pt x="9379484" y="1875"/>
                  <a:pt x="9252974" y="18288"/>
                </a:cubicBezTo>
                <a:cubicBezTo>
                  <a:pt x="9126464" y="34701"/>
                  <a:pt x="8580678" y="-4904"/>
                  <a:pt x="8357525" y="18288"/>
                </a:cubicBezTo>
                <a:cubicBezTo>
                  <a:pt x="8134372" y="41480"/>
                  <a:pt x="7903199" y="26458"/>
                  <a:pt x="7679154" y="18288"/>
                </a:cubicBezTo>
                <a:cubicBezTo>
                  <a:pt x="7455109" y="10118"/>
                  <a:pt x="7435944" y="27109"/>
                  <a:pt x="7217862" y="18288"/>
                </a:cubicBezTo>
                <a:cubicBezTo>
                  <a:pt x="6999780" y="9467"/>
                  <a:pt x="6680409" y="18985"/>
                  <a:pt x="6539492" y="18288"/>
                </a:cubicBezTo>
                <a:cubicBezTo>
                  <a:pt x="6398575" y="17592"/>
                  <a:pt x="6312077" y="33018"/>
                  <a:pt x="6186739" y="18288"/>
                </a:cubicBezTo>
                <a:cubicBezTo>
                  <a:pt x="6061401" y="3558"/>
                  <a:pt x="5947033" y="12075"/>
                  <a:pt x="5833986" y="18288"/>
                </a:cubicBezTo>
                <a:cubicBezTo>
                  <a:pt x="5720939" y="24501"/>
                  <a:pt x="5482226" y="8586"/>
                  <a:pt x="5155616" y="18288"/>
                </a:cubicBezTo>
                <a:cubicBezTo>
                  <a:pt x="4829006" y="27991"/>
                  <a:pt x="4841274" y="29316"/>
                  <a:pt x="4694324" y="18288"/>
                </a:cubicBezTo>
                <a:cubicBezTo>
                  <a:pt x="4547374" y="7260"/>
                  <a:pt x="4077675" y="7013"/>
                  <a:pt x="3907414" y="18288"/>
                </a:cubicBezTo>
                <a:cubicBezTo>
                  <a:pt x="3737153" y="29564"/>
                  <a:pt x="3538393" y="21630"/>
                  <a:pt x="3446122" y="18288"/>
                </a:cubicBezTo>
                <a:cubicBezTo>
                  <a:pt x="3353851" y="14946"/>
                  <a:pt x="2990320" y="-8091"/>
                  <a:pt x="2659212" y="18288"/>
                </a:cubicBezTo>
                <a:cubicBezTo>
                  <a:pt x="2328104" y="44667"/>
                  <a:pt x="2427653" y="9607"/>
                  <a:pt x="2306460" y="18288"/>
                </a:cubicBezTo>
                <a:cubicBezTo>
                  <a:pt x="2185267" y="26969"/>
                  <a:pt x="1719763" y="3717"/>
                  <a:pt x="1519550" y="18288"/>
                </a:cubicBezTo>
                <a:cubicBezTo>
                  <a:pt x="1319337" y="32860"/>
                  <a:pt x="1167371" y="17040"/>
                  <a:pt x="1058258" y="18288"/>
                </a:cubicBezTo>
                <a:cubicBezTo>
                  <a:pt x="949145" y="19536"/>
                  <a:pt x="780234" y="31447"/>
                  <a:pt x="705505" y="18288"/>
                </a:cubicBezTo>
                <a:cubicBezTo>
                  <a:pt x="630776" y="5129"/>
                  <a:pt x="215796" y="30056"/>
                  <a:pt x="0" y="18288"/>
                </a:cubicBezTo>
                <a:cubicBezTo>
                  <a:pt x="-53" y="11301"/>
                  <a:pt x="-649" y="7756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1671" y="1690688"/>
            <a:ext cx="11652308" cy="4872318"/>
          </a:xfrm>
        </p:spPr>
        <p:txBody>
          <a:bodyPr>
            <a:normAutofit fontScale="40000" lnSpcReduction="20000"/>
          </a:bodyPr>
          <a:lstStyle/>
          <a:p>
            <a:pPr marL="0" indent="0">
              <a:buNone/>
            </a:pPr>
            <a:r>
              <a:rPr lang="fr-FR" sz="1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1)</a:t>
            </a:r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L’entreprise achète, en réglant par chèque, pour 100 000 € de marchandises.</a:t>
            </a:r>
          </a:p>
          <a:p>
            <a:pPr algn="just"/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achat de marchandises augmente ou diminue ? =&gt; Il </a:t>
            </a:r>
            <a:r>
              <a:rPr lang="fr-FR" dirty="0">
                <a:solidFill>
                  <a:srgbClr val="FF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ugmente</a:t>
            </a:r>
            <a:endParaRPr lang="fr-FR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banque augmente ou diminue ? =&gt; Il </a:t>
            </a:r>
            <a:r>
              <a:rPr lang="fr-FR" dirty="0">
                <a:solidFill>
                  <a:srgbClr val="FF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minue</a:t>
            </a:r>
            <a:endParaRPr lang="fr-FR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2)</a:t>
            </a:r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L’entreprise achète, à crédit, pour 200 000 € de matières premières.</a:t>
            </a:r>
          </a:p>
          <a:p>
            <a:pPr algn="just"/>
            <a:r>
              <a:rPr lang="fr-FR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Dans ce cas, le compte achat de matières 1</a:t>
            </a:r>
            <a:r>
              <a:rPr lang="fr-FR" baseline="30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ères</a:t>
            </a:r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augmente ou diminue ? =&gt; Il </a:t>
            </a:r>
            <a:r>
              <a:rPr lang="fr-FR" dirty="0">
                <a:solidFill>
                  <a:srgbClr val="FF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ugmente</a:t>
            </a:r>
            <a:endParaRPr lang="fr-FR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dettes fournisseurs, augmente ou diminue ? =&gt; Il </a:t>
            </a:r>
            <a:r>
              <a:rPr lang="fr-FR" dirty="0">
                <a:solidFill>
                  <a:srgbClr val="FF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ugmente</a:t>
            </a:r>
            <a:endParaRPr lang="fr-FR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dirty="0">
                <a:solidFill>
                  <a:srgbClr val="FF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fr-FR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3) </a:t>
            </a:r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’entreprise perçoit 500 € d'intérêts d'un placement effectué dans une banque.</a:t>
            </a:r>
          </a:p>
          <a:p>
            <a:pPr algn="just"/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intérêts reçus augmente ou diminue ? =&gt; Il </a:t>
            </a:r>
            <a:r>
              <a:rPr lang="fr-FR" dirty="0">
                <a:solidFill>
                  <a:srgbClr val="FF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ugmente</a:t>
            </a:r>
            <a:endParaRPr lang="fr-FR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banque augmente ou diminue ? =&gt; Il </a:t>
            </a:r>
            <a:r>
              <a:rPr lang="fr-FR" dirty="0">
                <a:solidFill>
                  <a:srgbClr val="FF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ugmente</a:t>
            </a:r>
            <a:endParaRPr lang="fr-FR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4)</a:t>
            </a:r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L’entreprise vend des produits finis, à crédit, pour 500 000 €.</a:t>
            </a:r>
          </a:p>
          <a:p>
            <a:pPr algn="just"/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vente de produits finis augmente ou diminue ? =&gt; Il </a:t>
            </a:r>
            <a:r>
              <a:rPr lang="fr-FR" dirty="0">
                <a:solidFill>
                  <a:srgbClr val="FF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ugmente</a:t>
            </a:r>
            <a:endParaRPr lang="fr-FR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clients augmente ou diminue ? =&gt; Il</a:t>
            </a:r>
            <a:r>
              <a:rPr lang="fr-FR" dirty="0">
                <a:solidFill>
                  <a:srgbClr val="FF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augmente</a:t>
            </a:r>
            <a:endParaRPr lang="fr-FR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5) </a:t>
            </a:r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’entreprise achète un véhicule de transport, au comptant par chèque : 125 000 €.</a:t>
            </a:r>
          </a:p>
          <a:p>
            <a:pPr algn="just"/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matériel de transport augmente ou diminue ? =&gt; Il </a:t>
            </a:r>
            <a:r>
              <a:rPr lang="fr-FR" dirty="0">
                <a:solidFill>
                  <a:srgbClr val="FF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ugmente</a:t>
            </a:r>
            <a:endParaRPr lang="fr-FR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banque augmente ou diminue ? =&gt; Il</a:t>
            </a:r>
            <a:r>
              <a:rPr lang="fr-FR" dirty="0">
                <a:solidFill>
                  <a:srgbClr val="FF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diminue</a:t>
            </a:r>
            <a:endParaRPr lang="fr-FR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just">
              <a:buNone/>
            </a:pPr>
            <a:endParaRPr lang="fr-FR" sz="1500" dirty="0"/>
          </a:p>
        </p:txBody>
      </p:sp>
    </p:spTree>
    <p:extLst>
      <p:ext uri="{BB962C8B-B14F-4D97-AF65-F5344CB8AC3E}">
        <p14:creationId xmlns:p14="http://schemas.microsoft.com/office/powerpoint/2010/main" val="4292866186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100EDD19-6802-4EC3-95CE-CFFAB042C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fr-FR" sz="5400" dirty="0"/>
              <a:t>Comptabilisation – Cas UP2 suite</a:t>
            </a:r>
          </a:p>
        </p:txBody>
      </p:sp>
      <p:sp>
        <p:nvSpPr>
          <p:cNvPr id="19" name="sketch line">
            <a:extLst>
              <a:ext uri="{FF2B5EF4-FFF2-40B4-BE49-F238E27FC236}">
                <a16:creationId xmlns:a16="http://schemas.microsoft.com/office/drawing/2014/main" id="{DB17E863-922E-4C26-BD64-E8FD41D286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9036" y="1677373"/>
            <a:ext cx="10853928" cy="18288"/>
          </a:xfrm>
          <a:custGeom>
            <a:avLst/>
            <a:gdLst>
              <a:gd name="connsiteX0" fmla="*/ 0 w 10853928"/>
              <a:gd name="connsiteY0" fmla="*/ 0 h 18288"/>
              <a:gd name="connsiteX1" fmla="*/ 461292 w 10853928"/>
              <a:gd name="connsiteY1" fmla="*/ 0 h 18288"/>
              <a:gd name="connsiteX2" fmla="*/ 1139662 w 10853928"/>
              <a:gd name="connsiteY2" fmla="*/ 0 h 18288"/>
              <a:gd name="connsiteX3" fmla="*/ 1926572 w 10853928"/>
              <a:gd name="connsiteY3" fmla="*/ 0 h 18288"/>
              <a:gd name="connsiteX4" fmla="*/ 2279325 w 10853928"/>
              <a:gd name="connsiteY4" fmla="*/ 0 h 18288"/>
              <a:gd name="connsiteX5" fmla="*/ 2632078 w 10853928"/>
              <a:gd name="connsiteY5" fmla="*/ 0 h 18288"/>
              <a:gd name="connsiteX6" fmla="*/ 3527527 w 10853928"/>
              <a:gd name="connsiteY6" fmla="*/ 0 h 18288"/>
              <a:gd name="connsiteX7" fmla="*/ 4205897 w 10853928"/>
              <a:gd name="connsiteY7" fmla="*/ 0 h 18288"/>
              <a:gd name="connsiteX8" fmla="*/ 4558650 w 10853928"/>
              <a:gd name="connsiteY8" fmla="*/ 0 h 18288"/>
              <a:gd name="connsiteX9" fmla="*/ 5237020 w 10853928"/>
              <a:gd name="connsiteY9" fmla="*/ 0 h 18288"/>
              <a:gd name="connsiteX10" fmla="*/ 6132469 w 10853928"/>
              <a:gd name="connsiteY10" fmla="*/ 0 h 18288"/>
              <a:gd name="connsiteX11" fmla="*/ 6702301 w 10853928"/>
              <a:gd name="connsiteY11" fmla="*/ 0 h 18288"/>
              <a:gd name="connsiteX12" fmla="*/ 7272132 w 10853928"/>
              <a:gd name="connsiteY12" fmla="*/ 0 h 18288"/>
              <a:gd name="connsiteX13" fmla="*/ 7950502 w 10853928"/>
              <a:gd name="connsiteY13" fmla="*/ 0 h 18288"/>
              <a:gd name="connsiteX14" fmla="*/ 8737412 w 10853928"/>
              <a:gd name="connsiteY14" fmla="*/ 0 h 18288"/>
              <a:gd name="connsiteX15" fmla="*/ 9524322 w 10853928"/>
              <a:gd name="connsiteY15" fmla="*/ 0 h 18288"/>
              <a:gd name="connsiteX16" fmla="*/ 10853928 w 10853928"/>
              <a:gd name="connsiteY16" fmla="*/ 0 h 18288"/>
              <a:gd name="connsiteX17" fmla="*/ 10853928 w 10853928"/>
              <a:gd name="connsiteY17" fmla="*/ 18288 h 18288"/>
              <a:gd name="connsiteX18" fmla="*/ 10392636 w 10853928"/>
              <a:gd name="connsiteY18" fmla="*/ 18288 h 18288"/>
              <a:gd name="connsiteX19" fmla="*/ 9497187 w 10853928"/>
              <a:gd name="connsiteY19" fmla="*/ 18288 h 18288"/>
              <a:gd name="connsiteX20" fmla="*/ 8818817 w 10853928"/>
              <a:gd name="connsiteY20" fmla="*/ 18288 h 18288"/>
              <a:gd name="connsiteX21" fmla="*/ 8466064 w 10853928"/>
              <a:gd name="connsiteY21" fmla="*/ 18288 h 18288"/>
              <a:gd name="connsiteX22" fmla="*/ 7787693 w 10853928"/>
              <a:gd name="connsiteY22" fmla="*/ 18288 h 18288"/>
              <a:gd name="connsiteX23" fmla="*/ 7217862 w 10853928"/>
              <a:gd name="connsiteY23" fmla="*/ 18288 h 18288"/>
              <a:gd name="connsiteX24" fmla="*/ 6648031 w 10853928"/>
              <a:gd name="connsiteY24" fmla="*/ 18288 h 18288"/>
              <a:gd name="connsiteX25" fmla="*/ 6078200 w 10853928"/>
              <a:gd name="connsiteY25" fmla="*/ 18288 h 18288"/>
              <a:gd name="connsiteX26" fmla="*/ 5508368 w 10853928"/>
              <a:gd name="connsiteY26" fmla="*/ 18288 h 18288"/>
              <a:gd name="connsiteX27" fmla="*/ 4721459 w 10853928"/>
              <a:gd name="connsiteY27" fmla="*/ 18288 h 18288"/>
              <a:gd name="connsiteX28" fmla="*/ 4043088 w 10853928"/>
              <a:gd name="connsiteY28" fmla="*/ 18288 h 18288"/>
              <a:gd name="connsiteX29" fmla="*/ 3690336 w 10853928"/>
              <a:gd name="connsiteY29" fmla="*/ 18288 h 18288"/>
              <a:gd name="connsiteX30" fmla="*/ 3120504 w 10853928"/>
              <a:gd name="connsiteY30" fmla="*/ 18288 h 18288"/>
              <a:gd name="connsiteX31" fmla="*/ 2333595 w 10853928"/>
              <a:gd name="connsiteY31" fmla="*/ 18288 h 18288"/>
              <a:gd name="connsiteX32" fmla="*/ 1872303 w 10853928"/>
              <a:gd name="connsiteY32" fmla="*/ 18288 h 18288"/>
              <a:gd name="connsiteX33" fmla="*/ 976854 w 10853928"/>
              <a:gd name="connsiteY33" fmla="*/ 18288 h 18288"/>
              <a:gd name="connsiteX34" fmla="*/ 0 w 10853928"/>
              <a:gd name="connsiteY34" fmla="*/ 18288 h 18288"/>
              <a:gd name="connsiteX35" fmla="*/ 0 w 10853928"/>
              <a:gd name="connsiteY35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853928" h="18288" fill="none" extrusionOk="0">
                <a:moveTo>
                  <a:pt x="0" y="0"/>
                </a:moveTo>
                <a:cubicBezTo>
                  <a:pt x="146993" y="-19076"/>
                  <a:pt x="347684" y="-4790"/>
                  <a:pt x="461292" y="0"/>
                </a:cubicBezTo>
                <a:cubicBezTo>
                  <a:pt x="574900" y="4790"/>
                  <a:pt x="808367" y="19821"/>
                  <a:pt x="1139662" y="0"/>
                </a:cubicBezTo>
                <a:cubicBezTo>
                  <a:pt x="1470957" y="-19821"/>
                  <a:pt x="1627405" y="5721"/>
                  <a:pt x="1926572" y="0"/>
                </a:cubicBezTo>
                <a:cubicBezTo>
                  <a:pt x="2225739" y="-5721"/>
                  <a:pt x="2137730" y="-3235"/>
                  <a:pt x="2279325" y="0"/>
                </a:cubicBezTo>
                <a:cubicBezTo>
                  <a:pt x="2420920" y="3235"/>
                  <a:pt x="2456518" y="9685"/>
                  <a:pt x="2632078" y="0"/>
                </a:cubicBezTo>
                <a:cubicBezTo>
                  <a:pt x="2807638" y="-9685"/>
                  <a:pt x="3211516" y="-43007"/>
                  <a:pt x="3527527" y="0"/>
                </a:cubicBezTo>
                <a:cubicBezTo>
                  <a:pt x="3843538" y="43007"/>
                  <a:pt x="4058833" y="22042"/>
                  <a:pt x="4205897" y="0"/>
                </a:cubicBezTo>
                <a:cubicBezTo>
                  <a:pt x="4352961" y="-22042"/>
                  <a:pt x="4474805" y="-11846"/>
                  <a:pt x="4558650" y="0"/>
                </a:cubicBezTo>
                <a:cubicBezTo>
                  <a:pt x="4642495" y="11846"/>
                  <a:pt x="5041928" y="-6069"/>
                  <a:pt x="5237020" y="0"/>
                </a:cubicBezTo>
                <a:cubicBezTo>
                  <a:pt x="5432112" y="6069"/>
                  <a:pt x="5943266" y="-17479"/>
                  <a:pt x="6132469" y="0"/>
                </a:cubicBezTo>
                <a:cubicBezTo>
                  <a:pt x="6321672" y="17479"/>
                  <a:pt x="6483872" y="26234"/>
                  <a:pt x="6702301" y="0"/>
                </a:cubicBezTo>
                <a:cubicBezTo>
                  <a:pt x="6920730" y="-26234"/>
                  <a:pt x="6991194" y="-15156"/>
                  <a:pt x="7272132" y="0"/>
                </a:cubicBezTo>
                <a:cubicBezTo>
                  <a:pt x="7553070" y="15156"/>
                  <a:pt x="7684444" y="-32961"/>
                  <a:pt x="7950502" y="0"/>
                </a:cubicBezTo>
                <a:cubicBezTo>
                  <a:pt x="8216560" y="32961"/>
                  <a:pt x="8493290" y="-10491"/>
                  <a:pt x="8737412" y="0"/>
                </a:cubicBezTo>
                <a:cubicBezTo>
                  <a:pt x="8981534" y="10491"/>
                  <a:pt x="9191586" y="-13899"/>
                  <a:pt x="9524322" y="0"/>
                </a:cubicBezTo>
                <a:cubicBezTo>
                  <a:pt x="9857058" y="13899"/>
                  <a:pt x="10297509" y="7485"/>
                  <a:pt x="10853928" y="0"/>
                </a:cubicBezTo>
                <a:cubicBezTo>
                  <a:pt x="10854574" y="4451"/>
                  <a:pt x="10854418" y="9226"/>
                  <a:pt x="10853928" y="18288"/>
                </a:cubicBezTo>
                <a:cubicBezTo>
                  <a:pt x="10691638" y="28522"/>
                  <a:pt x="10574319" y="29578"/>
                  <a:pt x="10392636" y="18288"/>
                </a:cubicBezTo>
                <a:cubicBezTo>
                  <a:pt x="10210953" y="6998"/>
                  <a:pt x="9836277" y="-16742"/>
                  <a:pt x="9497187" y="18288"/>
                </a:cubicBezTo>
                <a:cubicBezTo>
                  <a:pt x="9158097" y="53318"/>
                  <a:pt x="9119479" y="30714"/>
                  <a:pt x="8818817" y="18288"/>
                </a:cubicBezTo>
                <a:cubicBezTo>
                  <a:pt x="8518155" y="5863"/>
                  <a:pt x="8640037" y="6483"/>
                  <a:pt x="8466064" y="18288"/>
                </a:cubicBezTo>
                <a:cubicBezTo>
                  <a:pt x="8292091" y="30093"/>
                  <a:pt x="7997656" y="18914"/>
                  <a:pt x="7787693" y="18288"/>
                </a:cubicBezTo>
                <a:cubicBezTo>
                  <a:pt x="7577730" y="17662"/>
                  <a:pt x="7412468" y="21416"/>
                  <a:pt x="7217862" y="18288"/>
                </a:cubicBezTo>
                <a:cubicBezTo>
                  <a:pt x="7023256" y="15160"/>
                  <a:pt x="6898018" y="14824"/>
                  <a:pt x="6648031" y="18288"/>
                </a:cubicBezTo>
                <a:cubicBezTo>
                  <a:pt x="6398044" y="21752"/>
                  <a:pt x="6254402" y="38625"/>
                  <a:pt x="6078200" y="18288"/>
                </a:cubicBezTo>
                <a:cubicBezTo>
                  <a:pt x="5901998" y="-2049"/>
                  <a:pt x="5622886" y="3213"/>
                  <a:pt x="5508368" y="18288"/>
                </a:cubicBezTo>
                <a:cubicBezTo>
                  <a:pt x="5393850" y="33363"/>
                  <a:pt x="5036260" y="26830"/>
                  <a:pt x="4721459" y="18288"/>
                </a:cubicBezTo>
                <a:cubicBezTo>
                  <a:pt x="4406658" y="9746"/>
                  <a:pt x="4239221" y="41551"/>
                  <a:pt x="4043088" y="18288"/>
                </a:cubicBezTo>
                <a:cubicBezTo>
                  <a:pt x="3846955" y="-4975"/>
                  <a:pt x="3818802" y="34658"/>
                  <a:pt x="3690336" y="18288"/>
                </a:cubicBezTo>
                <a:cubicBezTo>
                  <a:pt x="3561870" y="1918"/>
                  <a:pt x="3265491" y="42194"/>
                  <a:pt x="3120504" y="18288"/>
                </a:cubicBezTo>
                <a:cubicBezTo>
                  <a:pt x="2975517" y="-5618"/>
                  <a:pt x="2720254" y="36673"/>
                  <a:pt x="2333595" y="18288"/>
                </a:cubicBezTo>
                <a:cubicBezTo>
                  <a:pt x="1946936" y="-97"/>
                  <a:pt x="2097241" y="5776"/>
                  <a:pt x="1872303" y="18288"/>
                </a:cubicBezTo>
                <a:cubicBezTo>
                  <a:pt x="1647365" y="30800"/>
                  <a:pt x="1282708" y="45380"/>
                  <a:pt x="976854" y="18288"/>
                </a:cubicBezTo>
                <a:cubicBezTo>
                  <a:pt x="671000" y="-8804"/>
                  <a:pt x="408401" y="-12775"/>
                  <a:pt x="0" y="18288"/>
                </a:cubicBezTo>
                <a:cubicBezTo>
                  <a:pt x="-213" y="9468"/>
                  <a:pt x="187" y="4459"/>
                  <a:pt x="0" y="0"/>
                </a:cubicBezTo>
                <a:close/>
              </a:path>
              <a:path w="10853928" h="18288" stroke="0" extrusionOk="0">
                <a:moveTo>
                  <a:pt x="0" y="0"/>
                </a:moveTo>
                <a:cubicBezTo>
                  <a:pt x="267322" y="15284"/>
                  <a:pt x="415388" y="-21048"/>
                  <a:pt x="569831" y="0"/>
                </a:cubicBezTo>
                <a:cubicBezTo>
                  <a:pt x="724274" y="21048"/>
                  <a:pt x="769333" y="-2353"/>
                  <a:pt x="922584" y="0"/>
                </a:cubicBezTo>
                <a:cubicBezTo>
                  <a:pt x="1075835" y="2353"/>
                  <a:pt x="1399490" y="-145"/>
                  <a:pt x="1818033" y="0"/>
                </a:cubicBezTo>
                <a:cubicBezTo>
                  <a:pt x="2236576" y="145"/>
                  <a:pt x="2145330" y="5482"/>
                  <a:pt x="2387864" y="0"/>
                </a:cubicBezTo>
                <a:cubicBezTo>
                  <a:pt x="2630398" y="-5482"/>
                  <a:pt x="2793207" y="18487"/>
                  <a:pt x="2957695" y="0"/>
                </a:cubicBezTo>
                <a:cubicBezTo>
                  <a:pt x="3122183" y="-18487"/>
                  <a:pt x="3579141" y="19003"/>
                  <a:pt x="3853144" y="0"/>
                </a:cubicBezTo>
                <a:cubicBezTo>
                  <a:pt x="4127147" y="-19003"/>
                  <a:pt x="4209857" y="12211"/>
                  <a:pt x="4314436" y="0"/>
                </a:cubicBezTo>
                <a:cubicBezTo>
                  <a:pt x="4419015" y="-12211"/>
                  <a:pt x="4762459" y="-17220"/>
                  <a:pt x="5209885" y="0"/>
                </a:cubicBezTo>
                <a:cubicBezTo>
                  <a:pt x="5657311" y="17220"/>
                  <a:pt x="5692663" y="-3290"/>
                  <a:pt x="6105335" y="0"/>
                </a:cubicBezTo>
                <a:cubicBezTo>
                  <a:pt x="6518007" y="3290"/>
                  <a:pt x="6455516" y="-5124"/>
                  <a:pt x="6783705" y="0"/>
                </a:cubicBezTo>
                <a:cubicBezTo>
                  <a:pt x="7111894" y="5124"/>
                  <a:pt x="7441941" y="-17829"/>
                  <a:pt x="7679154" y="0"/>
                </a:cubicBezTo>
                <a:cubicBezTo>
                  <a:pt x="7916367" y="17829"/>
                  <a:pt x="8102967" y="-24363"/>
                  <a:pt x="8248985" y="0"/>
                </a:cubicBezTo>
                <a:cubicBezTo>
                  <a:pt x="8395003" y="24363"/>
                  <a:pt x="8552393" y="25505"/>
                  <a:pt x="8818817" y="0"/>
                </a:cubicBezTo>
                <a:cubicBezTo>
                  <a:pt x="9085241" y="-25505"/>
                  <a:pt x="9411308" y="38000"/>
                  <a:pt x="9605726" y="0"/>
                </a:cubicBezTo>
                <a:cubicBezTo>
                  <a:pt x="9800144" y="-38000"/>
                  <a:pt x="10006468" y="-25741"/>
                  <a:pt x="10175558" y="0"/>
                </a:cubicBezTo>
                <a:cubicBezTo>
                  <a:pt x="10344648" y="25741"/>
                  <a:pt x="10696282" y="695"/>
                  <a:pt x="10853928" y="0"/>
                </a:cubicBezTo>
                <a:cubicBezTo>
                  <a:pt x="10853521" y="8690"/>
                  <a:pt x="10853774" y="14141"/>
                  <a:pt x="10853928" y="18288"/>
                </a:cubicBezTo>
                <a:cubicBezTo>
                  <a:pt x="10608124" y="24255"/>
                  <a:pt x="10343415" y="22307"/>
                  <a:pt x="10067018" y="18288"/>
                </a:cubicBezTo>
                <a:cubicBezTo>
                  <a:pt x="9790621" y="14270"/>
                  <a:pt x="9843266" y="3564"/>
                  <a:pt x="9714266" y="18288"/>
                </a:cubicBezTo>
                <a:cubicBezTo>
                  <a:pt x="9585266" y="33012"/>
                  <a:pt x="9379484" y="1875"/>
                  <a:pt x="9252974" y="18288"/>
                </a:cubicBezTo>
                <a:cubicBezTo>
                  <a:pt x="9126464" y="34701"/>
                  <a:pt x="8580678" y="-4904"/>
                  <a:pt x="8357525" y="18288"/>
                </a:cubicBezTo>
                <a:cubicBezTo>
                  <a:pt x="8134372" y="41480"/>
                  <a:pt x="7903199" y="26458"/>
                  <a:pt x="7679154" y="18288"/>
                </a:cubicBezTo>
                <a:cubicBezTo>
                  <a:pt x="7455109" y="10118"/>
                  <a:pt x="7435944" y="27109"/>
                  <a:pt x="7217862" y="18288"/>
                </a:cubicBezTo>
                <a:cubicBezTo>
                  <a:pt x="6999780" y="9467"/>
                  <a:pt x="6680409" y="18985"/>
                  <a:pt x="6539492" y="18288"/>
                </a:cubicBezTo>
                <a:cubicBezTo>
                  <a:pt x="6398575" y="17592"/>
                  <a:pt x="6312077" y="33018"/>
                  <a:pt x="6186739" y="18288"/>
                </a:cubicBezTo>
                <a:cubicBezTo>
                  <a:pt x="6061401" y="3558"/>
                  <a:pt x="5947033" y="12075"/>
                  <a:pt x="5833986" y="18288"/>
                </a:cubicBezTo>
                <a:cubicBezTo>
                  <a:pt x="5720939" y="24501"/>
                  <a:pt x="5482226" y="8586"/>
                  <a:pt x="5155616" y="18288"/>
                </a:cubicBezTo>
                <a:cubicBezTo>
                  <a:pt x="4829006" y="27991"/>
                  <a:pt x="4841274" y="29316"/>
                  <a:pt x="4694324" y="18288"/>
                </a:cubicBezTo>
                <a:cubicBezTo>
                  <a:pt x="4547374" y="7260"/>
                  <a:pt x="4077675" y="7013"/>
                  <a:pt x="3907414" y="18288"/>
                </a:cubicBezTo>
                <a:cubicBezTo>
                  <a:pt x="3737153" y="29564"/>
                  <a:pt x="3538393" y="21630"/>
                  <a:pt x="3446122" y="18288"/>
                </a:cubicBezTo>
                <a:cubicBezTo>
                  <a:pt x="3353851" y="14946"/>
                  <a:pt x="2990320" y="-8091"/>
                  <a:pt x="2659212" y="18288"/>
                </a:cubicBezTo>
                <a:cubicBezTo>
                  <a:pt x="2328104" y="44667"/>
                  <a:pt x="2427653" y="9607"/>
                  <a:pt x="2306460" y="18288"/>
                </a:cubicBezTo>
                <a:cubicBezTo>
                  <a:pt x="2185267" y="26969"/>
                  <a:pt x="1719763" y="3717"/>
                  <a:pt x="1519550" y="18288"/>
                </a:cubicBezTo>
                <a:cubicBezTo>
                  <a:pt x="1319337" y="32860"/>
                  <a:pt x="1167371" y="17040"/>
                  <a:pt x="1058258" y="18288"/>
                </a:cubicBezTo>
                <a:cubicBezTo>
                  <a:pt x="949145" y="19536"/>
                  <a:pt x="780234" y="31447"/>
                  <a:pt x="705505" y="18288"/>
                </a:cubicBezTo>
                <a:cubicBezTo>
                  <a:pt x="630776" y="5129"/>
                  <a:pt x="215796" y="30056"/>
                  <a:pt x="0" y="18288"/>
                </a:cubicBezTo>
                <a:cubicBezTo>
                  <a:pt x="-53" y="11301"/>
                  <a:pt x="-649" y="7756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841" y="1874786"/>
            <a:ext cx="11051959" cy="4688220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fr-FR" sz="1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6) 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’entreprise verse le montant de la caisse sur son compte en banque (5 000 €)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caisse (53) augmente ou diminue ? =&gt; Il 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banque (512) augmente ou diminue ? =&gt; Il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7) 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’entreprise sort du liquide, de son compte en banque, et le met en caisse (25 000 €)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caisse (53) augmente ou diminue ? =&gt; Il 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banque (512) augmente ou diminue ? =&gt; Il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8) 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’entreprise règle par chèque une dette envers un fournisseur à qui elle devait 15 000 € 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fournisseurs (401) augmente ou diminue ? =&gt; Il 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banque (512) augmente ou diminue ? =&gt; Il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9)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Un client règle, en liquide, 3 500 € qu'il nous devait.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clients (411) augmente ou diminue ? =&gt; Il 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caisse (53) augmente ou diminue ? =&gt; Il</a:t>
            </a:r>
          </a:p>
          <a:p>
            <a:pPr marL="0" indent="0" algn="just">
              <a:buNone/>
            </a:pPr>
            <a:endParaRPr lang="fr-FR" sz="1500" dirty="0"/>
          </a:p>
        </p:txBody>
      </p:sp>
    </p:spTree>
    <p:extLst>
      <p:ext uri="{BB962C8B-B14F-4D97-AF65-F5344CB8AC3E}">
        <p14:creationId xmlns:p14="http://schemas.microsoft.com/office/powerpoint/2010/main" val="401040618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100EDD19-6802-4EC3-95CE-CFFAB042C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671" y="365125"/>
            <a:ext cx="11102129" cy="1325563"/>
          </a:xfrm>
        </p:spPr>
        <p:txBody>
          <a:bodyPr>
            <a:normAutofit fontScale="90000"/>
          </a:bodyPr>
          <a:lstStyle/>
          <a:p>
            <a:r>
              <a:rPr lang="fr-FR" sz="5400" dirty="0"/>
              <a:t>Comptabilisation – Correction UP2 (suite) </a:t>
            </a:r>
          </a:p>
        </p:txBody>
      </p:sp>
      <p:sp>
        <p:nvSpPr>
          <p:cNvPr id="19" name="sketch line">
            <a:extLst>
              <a:ext uri="{FF2B5EF4-FFF2-40B4-BE49-F238E27FC236}">
                <a16:creationId xmlns:a16="http://schemas.microsoft.com/office/drawing/2014/main" id="{DB17E863-922E-4C26-BD64-E8FD41D286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9036" y="1677373"/>
            <a:ext cx="10853928" cy="18288"/>
          </a:xfrm>
          <a:custGeom>
            <a:avLst/>
            <a:gdLst>
              <a:gd name="connsiteX0" fmla="*/ 0 w 10853928"/>
              <a:gd name="connsiteY0" fmla="*/ 0 h 18288"/>
              <a:gd name="connsiteX1" fmla="*/ 461292 w 10853928"/>
              <a:gd name="connsiteY1" fmla="*/ 0 h 18288"/>
              <a:gd name="connsiteX2" fmla="*/ 1139662 w 10853928"/>
              <a:gd name="connsiteY2" fmla="*/ 0 h 18288"/>
              <a:gd name="connsiteX3" fmla="*/ 1926572 w 10853928"/>
              <a:gd name="connsiteY3" fmla="*/ 0 h 18288"/>
              <a:gd name="connsiteX4" fmla="*/ 2279325 w 10853928"/>
              <a:gd name="connsiteY4" fmla="*/ 0 h 18288"/>
              <a:gd name="connsiteX5" fmla="*/ 2632078 w 10853928"/>
              <a:gd name="connsiteY5" fmla="*/ 0 h 18288"/>
              <a:gd name="connsiteX6" fmla="*/ 3527527 w 10853928"/>
              <a:gd name="connsiteY6" fmla="*/ 0 h 18288"/>
              <a:gd name="connsiteX7" fmla="*/ 4205897 w 10853928"/>
              <a:gd name="connsiteY7" fmla="*/ 0 h 18288"/>
              <a:gd name="connsiteX8" fmla="*/ 4558650 w 10853928"/>
              <a:gd name="connsiteY8" fmla="*/ 0 h 18288"/>
              <a:gd name="connsiteX9" fmla="*/ 5237020 w 10853928"/>
              <a:gd name="connsiteY9" fmla="*/ 0 h 18288"/>
              <a:gd name="connsiteX10" fmla="*/ 6132469 w 10853928"/>
              <a:gd name="connsiteY10" fmla="*/ 0 h 18288"/>
              <a:gd name="connsiteX11" fmla="*/ 6702301 w 10853928"/>
              <a:gd name="connsiteY11" fmla="*/ 0 h 18288"/>
              <a:gd name="connsiteX12" fmla="*/ 7272132 w 10853928"/>
              <a:gd name="connsiteY12" fmla="*/ 0 h 18288"/>
              <a:gd name="connsiteX13" fmla="*/ 7950502 w 10853928"/>
              <a:gd name="connsiteY13" fmla="*/ 0 h 18288"/>
              <a:gd name="connsiteX14" fmla="*/ 8737412 w 10853928"/>
              <a:gd name="connsiteY14" fmla="*/ 0 h 18288"/>
              <a:gd name="connsiteX15" fmla="*/ 9524322 w 10853928"/>
              <a:gd name="connsiteY15" fmla="*/ 0 h 18288"/>
              <a:gd name="connsiteX16" fmla="*/ 10853928 w 10853928"/>
              <a:gd name="connsiteY16" fmla="*/ 0 h 18288"/>
              <a:gd name="connsiteX17" fmla="*/ 10853928 w 10853928"/>
              <a:gd name="connsiteY17" fmla="*/ 18288 h 18288"/>
              <a:gd name="connsiteX18" fmla="*/ 10392636 w 10853928"/>
              <a:gd name="connsiteY18" fmla="*/ 18288 h 18288"/>
              <a:gd name="connsiteX19" fmla="*/ 9497187 w 10853928"/>
              <a:gd name="connsiteY19" fmla="*/ 18288 h 18288"/>
              <a:gd name="connsiteX20" fmla="*/ 8818817 w 10853928"/>
              <a:gd name="connsiteY20" fmla="*/ 18288 h 18288"/>
              <a:gd name="connsiteX21" fmla="*/ 8466064 w 10853928"/>
              <a:gd name="connsiteY21" fmla="*/ 18288 h 18288"/>
              <a:gd name="connsiteX22" fmla="*/ 7787693 w 10853928"/>
              <a:gd name="connsiteY22" fmla="*/ 18288 h 18288"/>
              <a:gd name="connsiteX23" fmla="*/ 7217862 w 10853928"/>
              <a:gd name="connsiteY23" fmla="*/ 18288 h 18288"/>
              <a:gd name="connsiteX24" fmla="*/ 6648031 w 10853928"/>
              <a:gd name="connsiteY24" fmla="*/ 18288 h 18288"/>
              <a:gd name="connsiteX25" fmla="*/ 6078200 w 10853928"/>
              <a:gd name="connsiteY25" fmla="*/ 18288 h 18288"/>
              <a:gd name="connsiteX26" fmla="*/ 5508368 w 10853928"/>
              <a:gd name="connsiteY26" fmla="*/ 18288 h 18288"/>
              <a:gd name="connsiteX27" fmla="*/ 4721459 w 10853928"/>
              <a:gd name="connsiteY27" fmla="*/ 18288 h 18288"/>
              <a:gd name="connsiteX28" fmla="*/ 4043088 w 10853928"/>
              <a:gd name="connsiteY28" fmla="*/ 18288 h 18288"/>
              <a:gd name="connsiteX29" fmla="*/ 3690336 w 10853928"/>
              <a:gd name="connsiteY29" fmla="*/ 18288 h 18288"/>
              <a:gd name="connsiteX30" fmla="*/ 3120504 w 10853928"/>
              <a:gd name="connsiteY30" fmla="*/ 18288 h 18288"/>
              <a:gd name="connsiteX31" fmla="*/ 2333595 w 10853928"/>
              <a:gd name="connsiteY31" fmla="*/ 18288 h 18288"/>
              <a:gd name="connsiteX32" fmla="*/ 1872303 w 10853928"/>
              <a:gd name="connsiteY32" fmla="*/ 18288 h 18288"/>
              <a:gd name="connsiteX33" fmla="*/ 976854 w 10853928"/>
              <a:gd name="connsiteY33" fmla="*/ 18288 h 18288"/>
              <a:gd name="connsiteX34" fmla="*/ 0 w 10853928"/>
              <a:gd name="connsiteY34" fmla="*/ 18288 h 18288"/>
              <a:gd name="connsiteX35" fmla="*/ 0 w 10853928"/>
              <a:gd name="connsiteY35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853928" h="18288" fill="none" extrusionOk="0">
                <a:moveTo>
                  <a:pt x="0" y="0"/>
                </a:moveTo>
                <a:cubicBezTo>
                  <a:pt x="146993" y="-19076"/>
                  <a:pt x="347684" y="-4790"/>
                  <a:pt x="461292" y="0"/>
                </a:cubicBezTo>
                <a:cubicBezTo>
                  <a:pt x="574900" y="4790"/>
                  <a:pt x="808367" y="19821"/>
                  <a:pt x="1139662" y="0"/>
                </a:cubicBezTo>
                <a:cubicBezTo>
                  <a:pt x="1470957" y="-19821"/>
                  <a:pt x="1627405" y="5721"/>
                  <a:pt x="1926572" y="0"/>
                </a:cubicBezTo>
                <a:cubicBezTo>
                  <a:pt x="2225739" y="-5721"/>
                  <a:pt x="2137730" y="-3235"/>
                  <a:pt x="2279325" y="0"/>
                </a:cubicBezTo>
                <a:cubicBezTo>
                  <a:pt x="2420920" y="3235"/>
                  <a:pt x="2456518" y="9685"/>
                  <a:pt x="2632078" y="0"/>
                </a:cubicBezTo>
                <a:cubicBezTo>
                  <a:pt x="2807638" y="-9685"/>
                  <a:pt x="3211516" y="-43007"/>
                  <a:pt x="3527527" y="0"/>
                </a:cubicBezTo>
                <a:cubicBezTo>
                  <a:pt x="3843538" y="43007"/>
                  <a:pt x="4058833" y="22042"/>
                  <a:pt x="4205897" y="0"/>
                </a:cubicBezTo>
                <a:cubicBezTo>
                  <a:pt x="4352961" y="-22042"/>
                  <a:pt x="4474805" y="-11846"/>
                  <a:pt x="4558650" y="0"/>
                </a:cubicBezTo>
                <a:cubicBezTo>
                  <a:pt x="4642495" y="11846"/>
                  <a:pt x="5041928" y="-6069"/>
                  <a:pt x="5237020" y="0"/>
                </a:cubicBezTo>
                <a:cubicBezTo>
                  <a:pt x="5432112" y="6069"/>
                  <a:pt x="5943266" y="-17479"/>
                  <a:pt x="6132469" y="0"/>
                </a:cubicBezTo>
                <a:cubicBezTo>
                  <a:pt x="6321672" y="17479"/>
                  <a:pt x="6483872" y="26234"/>
                  <a:pt x="6702301" y="0"/>
                </a:cubicBezTo>
                <a:cubicBezTo>
                  <a:pt x="6920730" y="-26234"/>
                  <a:pt x="6991194" y="-15156"/>
                  <a:pt x="7272132" y="0"/>
                </a:cubicBezTo>
                <a:cubicBezTo>
                  <a:pt x="7553070" y="15156"/>
                  <a:pt x="7684444" y="-32961"/>
                  <a:pt x="7950502" y="0"/>
                </a:cubicBezTo>
                <a:cubicBezTo>
                  <a:pt x="8216560" y="32961"/>
                  <a:pt x="8493290" y="-10491"/>
                  <a:pt x="8737412" y="0"/>
                </a:cubicBezTo>
                <a:cubicBezTo>
                  <a:pt x="8981534" y="10491"/>
                  <a:pt x="9191586" y="-13899"/>
                  <a:pt x="9524322" y="0"/>
                </a:cubicBezTo>
                <a:cubicBezTo>
                  <a:pt x="9857058" y="13899"/>
                  <a:pt x="10297509" y="7485"/>
                  <a:pt x="10853928" y="0"/>
                </a:cubicBezTo>
                <a:cubicBezTo>
                  <a:pt x="10854574" y="4451"/>
                  <a:pt x="10854418" y="9226"/>
                  <a:pt x="10853928" y="18288"/>
                </a:cubicBezTo>
                <a:cubicBezTo>
                  <a:pt x="10691638" y="28522"/>
                  <a:pt x="10574319" y="29578"/>
                  <a:pt x="10392636" y="18288"/>
                </a:cubicBezTo>
                <a:cubicBezTo>
                  <a:pt x="10210953" y="6998"/>
                  <a:pt x="9836277" y="-16742"/>
                  <a:pt x="9497187" y="18288"/>
                </a:cubicBezTo>
                <a:cubicBezTo>
                  <a:pt x="9158097" y="53318"/>
                  <a:pt x="9119479" y="30714"/>
                  <a:pt x="8818817" y="18288"/>
                </a:cubicBezTo>
                <a:cubicBezTo>
                  <a:pt x="8518155" y="5863"/>
                  <a:pt x="8640037" y="6483"/>
                  <a:pt x="8466064" y="18288"/>
                </a:cubicBezTo>
                <a:cubicBezTo>
                  <a:pt x="8292091" y="30093"/>
                  <a:pt x="7997656" y="18914"/>
                  <a:pt x="7787693" y="18288"/>
                </a:cubicBezTo>
                <a:cubicBezTo>
                  <a:pt x="7577730" y="17662"/>
                  <a:pt x="7412468" y="21416"/>
                  <a:pt x="7217862" y="18288"/>
                </a:cubicBezTo>
                <a:cubicBezTo>
                  <a:pt x="7023256" y="15160"/>
                  <a:pt x="6898018" y="14824"/>
                  <a:pt x="6648031" y="18288"/>
                </a:cubicBezTo>
                <a:cubicBezTo>
                  <a:pt x="6398044" y="21752"/>
                  <a:pt x="6254402" y="38625"/>
                  <a:pt x="6078200" y="18288"/>
                </a:cubicBezTo>
                <a:cubicBezTo>
                  <a:pt x="5901998" y="-2049"/>
                  <a:pt x="5622886" y="3213"/>
                  <a:pt x="5508368" y="18288"/>
                </a:cubicBezTo>
                <a:cubicBezTo>
                  <a:pt x="5393850" y="33363"/>
                  <a:pt x="5036260" y="26830"/>
                  <a:pt x="4721459" y="18288"/>
                </a:cubicBezTo>
                <a:cubicBezTo>
                  <a:pt x="4406658" y="9746"/>
                  <a:pt x="4239221" y="41551"/>
                  <a:pt x="4043088" y="18288"/>
                </a:cubicBezTo>
                <a:cubicBezTo>
                  <a:pt x="3846955" y="-4975"/>
                  <a:pt x="3818802" y="34658"/>
                  <a:pt x="3690336" y="18288"/>
                </a:cubicBezTo>
                <a:cubicBezTo>
                  <a:pt x="3561870" y="1918"/>
                  <a:pt x="3265491" y="42194"/>
                  <a:pt x="3120504" y="18288"/>
                </a:cubicBezTo>
                <a:cubicBezTo>
                  <a:pt x="2975517" y="-5618"/>
                  <a:pt x="2720254" y="36673"/>
                  <a:pt x="2333595" y="18288"/>
                </a:cubicBezTo>
                <a:cubicBezTo>
                  <a:pt x="1946936" y="-97"/>
                  <a:pt x="2097241" y="5776"/>
                  <a:pt x="1872303" y="18288"/>
                </a:cubicBezTo>
                <a:cubicBezTo>
                  <a:pt x="1647365" y="30800"/>
                  <a:pt x="1282708" y="45380"/>
                  <a:pt x="976854" y="18288"/>
                </a:cubicBezTo>
                <a:cubicBezTo>
                  <a:pt x="671000" y="-8804"/>
                  <a:pt x="408401" y="-12775"/>
                  <a:pt x="0" y="18288"/>
                </a:cubicBezTo>
                <a:cubicBezTo>
                  <a:pt x="-213" y="9468"/>
                  <a:pt x="187" y="4459"/>
                  <a:pt x="0" y="0"/>
                </a:cubicBezTo>
                <a:close/>
              </a:path>
              <a:path w="10853928" h="18288" stroke="0" extrusionOk="0">
                <a:moveTo>
                  <a:pt x="0" y="0"/>
                </a:moveTo>
                <a:cubicBezTo>
                  <a:pt x="267322" y="15284"/>
                  <a:pt x="415388" y="-21048"/>
                  <a:pt x="569831" y="0"/>
                </a:cubicBezTo>
                <a:cubicBezTo>
                  <a:pt x="724274" y="21048"/>
                  <a:pt x="769333" y="-2353"/>
                  <a:pt x="922584" y="0"/>
                </a:cubicBezTo>
                <a:cubicBezTo>
                  <a:pt x="1075835" y="2353"/>
                  <a:pt x="1399490" y="-145"/>
                  <a:pt x="1818033" y="0"/>
                </a:cubicBezTo>
                <a:cubicBezTo>
                  <a:pt x="2236576" y="145"/>
                  <a:pt x="2145330" y="5482"/>
                  <a:pt x="2387864" y="0"/>
                </a:cubicBezTo>
                <a:cubicBezTo>
                  <a:pt x="2630398" y="-5482"/>
                  <a:pt x="2793207" y="18487"/>
                  <a:pt x="2957695" y="0"/>
                </a:cubicBezTo>
                <a:cubicBezTo>
                  <a:pt x="3122183" y="-18487"/>
                  <a:pt x="3579141" y="19003"/>
                  <a:pt x="3853144" y="0"/>
                </a:cubicBezTo>
                <a:cubicBezTo>
                  <a:pt x="4127147" y="-19003"/>
                  <a:pt x="4209857" y="12211"/>
                  <a:pt x="4314436" y="0"/>
                </a:cubicBezTo>
                <a:cubicBezTo>
                  <a:pt x="4419015" y="-12211"/>
                  <a:pt x="4762459" y="-17220"/>
                  <a:pt x="5209885" y="0"/>
                </a:cubicBezTo>
                <a:cubicBezTo>
                  <a:pt x="5657311" y="17220"/>
                  <a:pt x="5692663" y="-3290"/>
                  <a:pt x="6105335" y="0"/>
                </a:cubicBezTo>
                <a:cubicBezTo>
                  <a:pt x="6518007" y="3290"/>
                  <a:pt x="6455516" y="-5124"/>
                  <a:pt x="6783705" y="0"/>
                </a:cubicBezTo>
                <a:cubicBezTo>
                  <a:pt x="7111894" y="5124"/>
                  <a:pt x="7441941" y="-17829"/>
                  <a:pt x="7679154" y="0"/>
                </a:cubicBezTo>
                <a:cubicBezTo>
                  <a:pt x="7916367" y="17829"/>
                  <a:pt x="8102967" y="-24363"/>
                  <a:pt x="8248985" y="0"/>
                </a:cubicBezTo>
                <a:cubicBezTo>
                  <a:pt x="8395003" y="24363"/>
                  <a:pt x="8552393" y="25505"/>
                  <a:pt x="8818817" y="0"/>
                </a:cubicBezTo>
                <a:cubicBezTo>
                  <a:pt x="9085241" y="-25505"/>
                  <a:pt x="9411308" y="38000"/>
                  <a:pt x="9605726" y="0"/>
                </a:cubicBezTo>
                <a:cubicBezTo>
                  <a:pt x="9800144" y="-38000"/>
                  <a:pt x="10006468" y="-25741"/>
                  <a:pt x="10175558" y="0"/>
                </a:cubicBezTo>
                <a:cubicBezTo>
                  <a:pt x="10344648" y="25741"/>
                  <a:pt x="10696282" y="695"/>
                  <a:pt x="10853928" y="0"/>
                </a:cubicBezTo>
                <a:cubicBezTo>
                  <a:pt x="10853521" y="8690"/>
                  <a:pt x="10853774" y="14141"/>
                  <a:pt x="10853928" y="18288"/>
                </a:cubicBezTo>
                <a:cubicBezTo>
                  <a:pt x="10608124" y="24255"/>
                  <a:pt x="10343415" y="22307"/>
                  <a:pt x="10067018" y="18288"/>
                </a:cubicBezTo>
                <a:cubicBezTo>
                  <a:pt x="9790621" y="14270"/>
                  <a:pt x="9843266" y="3564"/>
                  <a:pt x="9714266" y="18288"/>
                </a:cubicBezTo>
                <a:cubicBezTo>
                  <a:pt x="9585266" y="33012"/>
                  <a:pt x="9379484" y="1875"/>
                  <a:pt x="9252974" y="18288"/>
                </a:cubicBezTo>
                <a:cubicBezTo>
                  <a:pt x="9126464" y="34701"/>
                  <a:pt x="8580678" y="-4904"/>
                  <a:pt x="8357525" y="18288"/>
                </a:cubicBezTo>
                <a:cubicBezTo>
                  <a:pt x="8134372" y="41480"/>
                  <a:pt x="7903199" y="26458"/>
                  <a:pt x="7679154" y="18288"/>
                </a:cubicBezTo>
                <a:cubicBezTo>
                  <a:pt x="7455109" y="10118"/>
                  <a:pt x="7435944" y="27109"/>
                  <a:pt x="7217862" y="18288"/>
                </a:cubicBezTo>
                <a:cubicBezTo>
                  <a:pt x="6999780" y="9467"/>
                  <a:pt x="6680409" y="18985"/>
                  <a:pt x="6539492" y="18288"/>
                </a:cubicBezTo>
                <a:cubicBezTo>
                  <a:pt x="6398575" y="17592"/>
                  <a:pt x="6312077" y="33018"/>
                  <a:pt x="6186739" y="18288"/>
                </a:cubicBezTo>
                <a:cubicBezTo>
                  <a:pt x="6061401" y="3558"/>
                  <a:pt x="5947033" y="12075"/>
                  <a:pt x="5833986" y="18288"/>
                </a:cubicBezTo>
                <a:cubicBezTo>
                  <a:pt x="5720939" y="24501"/>
                  <a:pt x="5482226" y="8586"/>
                  <a:pt x="5155616" y="18288"/>
                </a:cubicBezTo>
                <a:cubicBezTo>
                  <a:pt x="4829006" y="27991"/>
                  <a:pt x="4841274" y="29316"/>
                  <a:pt x="4694324" y="18288"/>
                </a:cubicBezTo>
                <a:cubicBezTo>
                  <a:pt x="4547374" y="7260"/>
                  <a:pt x="4077675" y="7013"/>
                  <a:pt x="3907414" y="18288"/>
                </a:cubicBezTo>
                <a:cubicBezTo>
                  <a:pt x="3737153" y="29564"/>
                  <a:pt x="3538393" y="21630"/>
                  <a:pt x="3446122" y="18288"/>
                </a:cubicBezTo>
                <a:cubicBezTo>
                  <a:pt x="3353851" y="14946"/>
                  <a:pt x="2990320" y="-8091"/>
                  <a:pt x="2659212" y="18288"/>
                </a:cubicBezTo>
                <a:cubicBezTo>
                  <a:pt x="2328104" y="44667"/>
                  <a:pt x="2427653" y="9607"/>
                  <a:pt x="2306460" y="18288"/>
                </a:cubicBezTo>
                <a:cubicBezTo>
                  <a:pt x="2185267" y="26969"/>
                  <a:pt x="1719763" y="3717"/>
                  <a:pt x="1519550" y="18288"/>
                </a:cubicBezTo>
                <a:cubicBezTo>
                  <a:pt x="1319337" y="32860"/>
                  <a:pt x="1167371" y="17040"/>
                  <a:pt x="1058258" y="18288"/>
                </a:cubicBezTo>
                <a:cubicBezTo>
                  <a:pt x="949145" y="19536"/>
                  <a:pt x="780234" y="31447"/>
                  <a:pt x="705505" y="18288"/>
                </a:cubicBezTo>
                <a:cubicBezTo>
                  <a:pt x="630776" y="5129"/>
                  <a:pt x="215796" y="30056"/>
                  <a:pt x="0" y="18288"/>
                </a:cubicBezTo>
                <a:cubicBezTo>
                  <a:pt x="-53" y="11301"/>
                  <a:pt x="-649" y="7756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1671" y="1690688"/>
            <a:ext cx="11652308" cy="4872318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fr-FR" sz="1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6) 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’entreprise verse le montant de la caisse sur son compte en banque (5 000 €)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caisse augmente ou diminue ? =&gt; Il </a:t>
            </a:r>
            <a:r>
              <a:rPr lang="fr-FR" sz="1800" dirty="0">
                <a:solidFill>
                  <a:srgbClr val="FF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minue</a:t>
            </a:r>
            <a:endParaRPr lang="fr-FR" sz="18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banque augmente ou diminue ? =&gt; Il</a:t>
            </a:r>
            <a:r>
              <a:rPr lang="fr-FR" sz="1800" dirty="0">
                <a:solidFill>
                  <a:srgbClr val="FF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augmente</a:t>
            </a:r>
            <a:endParaRPr lang="fr-FR" sz="18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7) 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’entreprise sort du liquide, de son compte en banque, et le met en caisse (25 000 €)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caisse augmente ou diminue ? =&gt; Il </a:t>
            </a:r>
            <a:r>
              <a:rPr lang="fr-FR" sz="1800" dirty="0">
                <a:solidFill>
                  <a:srgbClr val="FF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ugmente</a:t>
            </a:r>
            <a:endParaRPr lang="fr-FR" sz="18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banque augmente ou diminue ? =&gt; Il</a:t>
            </a:r>
            <a:r>
              <a:rPr lang="fr-FR" sz="1800" dirty="0">
                <a:solidFill>
                  <a:srgbClr val="FF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diminue</a:t>
            </a:r>
            <a:endParaRPr lang="fr-FR" sz="18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8) 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’entreprise règle par chèque une dette envers un fournisseur à qui elle devait 15 000 € 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fournisseurs augmente ou diminue ? =&gt; Il </a:t>
            </a:r>
            <a:r>
              <a:rPr lang="fr-FR" sz="1800" dirty="0">
                <a:solidFill>
                  <a:srgbClr val="FF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minue</a:t>
            </a:r>
            <a:endParaRPr lang="fr-FR" sz="18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banque augmente ou diminue ? =&gt; Il</a:t>
            </a:r>
            <a:r>
              <a:rPr lang="fr-FR" sz="1800" dirty="0">
                <a:solidFill>
                  <a:srgbClr val="FF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diminue</a:t>
            </a:r>
            <a:endParaRPr lang="fr-FR" sz="18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sz="1800" dirty="0">
                <a:solidFill>
                  <a:srgbClr val="FF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                         </a:t>
            </a:r>
            <a:endParaRPr lang="fr-FR" sz="18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sz="1800" b="1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 </a:t>
            </a:r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9)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Un client règle, en liquide, 3 500 € qu'il nous devait.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clients augmente ou diminue ? =&gt; Il </a:t>
            </a:r>
            <a:r>
              <a:rPr lang="fr-FR" sz="1800" dirty="0">
                <a:solidFill>
                  <a:srgbClr val="FF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minue</a:t>
            </a:r>
            <a:endParaRPr lang="fr-FR" sz="18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Dans ce cas, le compte caisse augmente ou diminue ? =&gt; Il</a:t>
            </a:r>
            <a:r>
              <a:rPr lang="fr-FR" sz="1800" dirty="0">
                <a:solidFill>
                  <a:srgbClr val="FF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augmente</a:t>
            </a:r>
            <a:endParaRPr lang="fr-FR" sz="18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just">
              <a:buNone/>
            </a:pPr>
            <a:endParaRPr lang="fr-FR" sz="1500" dirty="0"/>
          </a:p>
        </p:txBody>
      </p:sp>
    </p:spTree>
    <p:extLst>
      <p:ext uri="{BB962C8B-B14F-4D97-AF65-F5344CB8AC3E}">
        <p14:creationId xmlns:p14="http://schemas.microsoft.com/office/powerpoint/2010/main" val="3854511998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Rectangle 87">
            <a:extLst>
              <a:ext uri="{FF2B5EF4-FFF2-40B4-BE49-F238E27FC236}">
                <a16:creationId xmlns:a16="http://schemas.microsoft.com/office/drawing/2014/main" id="{16C5FA50-8D52-4617-AF91-5C7B1C8352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456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517F6E-26E9-44E8-815E-774552D9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93496" y="618681"/>
            <a:ext cx="2613872" cy="4794567"/>
          </a:xfrm>
          <a:prstGeom prst="ellipse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600">
                <a:solidFill>
                  <a:srgbClr val="FFFFFF"/>
                </a:solidFill>
              </a:rPr>
              <a:t>Merci</a:t>
            </a:r>
          </a:p>
        </p:txBody>
      </p:sp>
      <p:sp>
        <p:nvSpPr>
          <p:cNvPr id="90" name="Rounded Rectangle 9">
            <a:extLst>
              <a:ext uri="{FF2B5EF4-FFF2-40B4-BE49-F238E27FC236}">
                <a16:creationId xmlns:a16="http://schemas.microsoft.com/office/drawing/2014/main" id="{E223798C-12AD-4B0C-A50C-D676347D67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93354" y="484632"/>
            <a:ext cx="8129016" cy="5724144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9525">
            <a:solidFill>
              <a:srgbClr val="C8CACA"/>
            </a:solidFill>
          </a:ln>
          <a:effectLst>
            <a:outerShdw blurRad="57150" dist="19050" dir="5400000" algn="t" rotWithShape="0">
              <a:prstClr val="black">
                <a:alpha val="6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FC9EF324-339C-4E46-9508-BF0C86AAC79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l="5579" r="5579"/>
          <a:stretch/>
        </p:blipFill>
        <p:spPr>
          <a:xfrm>
            <a:off x="976251" y="942538"/>
            <a:ext cx="7163222" cy="4808332"/>
          </a:xfrm>
          <a:prstGeom prst="rect">
            <a:avLst/>
          </a:prstGeom>
          <a:effectLst/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AE196125-F657-4A8D-BF6F-9D35E2A19BAA}"/>
              </a:ext>
            </a:extLst>
          </p:cNvPr>
          <p:cNvSpPr txBox="1"/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23" name="ZoneTexte 2">
            <a:extLst>
              <a:ext uri="{FF2B5EF4-FFF2-40B4-BE49-F238E27FC236}">
                <a16:creationId xmlns:a16="http://schemas.microsoft.com/office/drawing/2014/main" id="{61BA051E-0D20-4CC3-9958-C0CFDE297C40}"/>
              </a:ext>
            </a:extLst>
          </p:cNvPr>
          <p:cNvSpPr txBox="1"/>
          <p:nvPr/>
        </p:nvSpPr>
        <p:spPr>
          <a:xfrm>
            <a:off x="1179226" y="3092970"/>
            <a:ext cx="9833548" cy="26939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</p:txBody>
      </p:sp>
      <p:grpSp>
        <p:nvGrpSpPr>
          <p:cNvPr id="7" name="Awar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1C68EA-2299-4048-9768-29BE3CCCA72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0"/>
            <a:ext cx="344587" cy="542925"/>
            <a:chOff x="2585735" y="108789"/>
            <a:chExt cx="344587" cy="542925"/>
          </a:xfrm>
        </p:grpSpPr>
        <p:sp>
          <p:nvSpPr>
            <p:cNvPr id="8" name="Freeform: Shape 206">
              <a:extLst>
                <a:ext uri="{FF2B5EF4-FFF2-40B4-BE49-F238E27FC236}">
                  <a16:creationId xmlns:a16="http://schemas.microsoft.com/office/drawing/2014/main" id="{F1582718-4360-43D7-8A82-7C736EEF1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735" y="108789"/>
              <a:ext cx="344587" cy="344988"/>
            </a:xfrm>
            <a:custGeom>
              <a:avLst/>
              <a:gdLst>
                <a:gd name="connsiteX0" fmla="*/ 167961 w 344587"/>
                <a:gd name="connsiteY0" fmla="*/ 276672 h 344988"/>
                <a:gd name="connsiteX1" fmla="*/ 168781 w 344587"/>
                <a:gd name="connsiteY1" fmla="*/ 281441 h 344988"/>
                <a:gd name="connsiteX2" fmla="*/ 165282 w 344587"/>
                <a:gd name="connsiteY2" fmla="*/ 284827 h 344988"/>
                <a:gd name="connsiteX3" fmla="*/ 170121 w 344587"/>
                <a:gd name="connsiteY3" fmla="*/ 285532 h 344988"/>
                <a:gd name="connsiteX4" fmla="*/ 172307 w 344587"/>
                <a:gd name="connsiteY4" fmla="*/ 289894 h 344988"/>
                <a:gd name="connsiteX5" fmla="*/ 174467 w 344587"/>
                <a:gd name="connsiteY5" fmla="*/ 285532 h 344988"/>
                <a:gd name="connsiteX6" fmla="*/ 179306 w 344587"/>
                <a:gd name="connsiteY6" fmla="*/ 284827 h 344988"/>
                <a:gd name="connsiteX7" fmla="*/ 175806 w 344587"/>
                <a:gd name="connsiteY7" fmla="*/ 281441 h 344988"/>
                <a:gd name="connsiteX8" fmla="*/ 176627 w 344587"/>
                <a:gd name="connsiteY8" fmla="*/ 276672 h 344988"/>
                <a:gd name="connsiteX9" fmla="*/ 172307 w 344587"/>
                <a:gd name="connsiteY9" fmla="*/ 278921 h 344988"/>
                <a:gd name="connsiteX10" fmla="*/ 194527 w 344587"/>
                <a:gd name="connsiteY10" fmla="*/ 274468 h 344988"/>
                <a:gd name="connsiteX11" fmla="*/ 190704 w 344587"/>
                <a:gd name="connsiteY11" fmla="*/ 277391 h 344988"/>
                <a:gd name="connsiteX12" fmla="*/ 186127 w 344587"/>
                <a:gd name="connsiteY12" fmla="*/ 275943 h 344988"/>
                <a:gd name="connsiteX13" fmla="*/ 187742 w 344587"/>
                <a:gd name="connsiteY13" fmla="*/ 280475 h 344988"/>
                <a:gd name="connsiteX14" fmla="*/ 184915 w 344587"/>
                <a:gd name="connsiteY14" fmla="*/ 284363 h 344988"/>
                <a:gd name="connsiteX15" fmla="*/ 189761 w 344587"/>
                <a:gd name="connsiteY15" fmla="*/ 284229 h 344988"/>
                <a:gd name="connsiteX16" fmla="*/ 192615 w 344587"/>
                <a:gd name="connsiteY16" fmla="*/ 288091 h 344988"/>
                <a:gd name="connsiteX17" fmla="*/ 193961 w 344587"/>
                <a:gd name="connsiteY17" fmla="*/ 283479 h 344988"/>
                <a:gd name="connsiteX18" fmla="*/ 198538 w 344587"/>
                <a:gd name="connsiteY18" fmla="*/ 281977 h 344988"/>
                <a:gd name="connsiteX19" fmla="*/ 194554 w 344587"/>
                <a:gd name="connsiteY19" fmla="*/ 279268 h 344988"/>
                <a:gd name="connsiteX20" fmla="*/ 149919 w 344587"/>
                <a:gd name="connsiteY20" fmla="*/ 274468 h 344988"/>
                <a:gd name="connsiteX21" fmla="*/ 149892 w 344587"/>
                <a:gd name="connsiteY21" fmla="*/ 279268 h 344988"/>
                <a:gd name="connsiteX22" fmla="*/ 145849 w 344587"/>
                <a:gd name="connsiteY22" fmla="*/ 281977 h 344988"/>
                <a:gd name="connsiteX23" fmla="*/ 150493 w 344587"/>
                <a:gd name="connsiteY23" fmla="*/ 283479 h 344988"/>
                <a:gd name="connsiteX24" fmla="*/ 151859 w 344587"/>
                <a:gd name="connsiteY24" fmla="*/ 288091 h 344988"/>
                <a:gd name="connsiteX25" fmla="*/ 154755 w 344587"/>
                <a:gd name="connsiteY25" fmla="*/ 284229 h 344988"/>
                <a:gd name="connsiteX26" fmla="*/ 159672 w 344587"/>
                <a:gd name="connsiteY26" fmla="*/ 284363 h 344988"/>
                <a:gd name="connsiteX27" fmla="*/ 156804 w 344587"/>
                <a:gd name="connsiteY27" fmla="*/ 280475 h 344988"/>
                <a:gd name="connsiteX28" fmla="*/ 158443 w 344587"/>
                <a:gd name="connsiteY28" fmla="*/ 275943 h 344988"/>
                <a:gd name="connsiteX29" fmla="*/ 153798 w 344587"/>
                <a:gd name="connsiteY29" fmla="*/ 277391 h 344988"/>
                <a:gd name="connsiteX30" fmla="*/ 211844 w 344587"/>
                <a:gd name="connsiteY30" fmla="*/ 268858 h 344988"/>
                <a:gd name="connsiteX31" fmla="*/ 208584 w 344587"/>
                <a:gd name="connsiteY31" fmla="*/ 272467 h 344988"/>
                <a:gd name="connsiteX32" fmla="*/ 203747 w 344587"/>
                <a:gd name="connsiteY32" fmla="*/ 271811 h 344988"/>
                <a:gd name="connsiteX33" fmla="*/ 206165 w 344587"/>
                <a:gd name="connsiteY33" fmla="*/ 276075 h 344988"/>
                <a:gd name="connsiteX34" fmla="*/ 204046 w 344587"/>
                <a:gd name="connsiteY34" fmla="*/ 280504 h 344988"/>
                <a:gd name="connsiteX35" fmla="*/ 208828 w 344587"/>
                <a:gd name="connsiteY35" fmla="*/ 279492 h 344988"/>
                <a:gd name="connsiteX36" fmla="*/ 212334 w 344587"/>
                <a:gd name="connsiteY36" fmla="*/ 282882 h 344988"/>
                <a:gd name="connsiteX37" fmla="*/ 212877 w 344587"/>
                <a:gd name="connsiteY37" fmla="*/ 278016 h 344988"/>
                <a:gd name="connsiteX38" fmla="*/ 217170 w 344587"/>
                <a:gd name="connsiteY38" fmla="*/ 275693 h 344988"/>
                <a:gd name="connsiteX39" fmla="*/ 212714 w 344587"/>
                <a:gd name="connsiteY39" fmla="*/ 273670 h 344988"/>
                <a:gd name="connsiteX40" fmla="*/ 132663 w 344587"/>
                <a:gd name="connsiteY40" fmla="*/ 268858 h 344988"/>
                <a:gd name="connsiteX41" fmla="*/ 131807 w 344587"/>
                <a:gd name="connsiteY41" fmla="*/ 273670 h 344988"/>
                <a:gd name="connsiteX42" fmla="*/ 127417 w 344587"/>
                <a:gd name="connsiteY42" fmla="*/ 275693 h 344988"/>
                <a:gd name="connsiteX43" fmla="*/ 131646 w 344587"/>
                <a:gd name="connsiteY43" fmla="*/ 278016 h 344988"/>
                <a:gd name="connsiteX44" fmla="*/ 132182 w 344587"/>
                <a:gd name="connsiteY44" fmla="*/ 282882 h 344988"/>
                <a:gd name="connsiteX45" fmla="*/ 135635 w 344587"/>
                <a:gd name="connsiteY45" fmla="*/ 279492 h 344988"/>
                <a:gd name="connsiteX46" fmla="*/ 140345 w 344587"/>
                <a:gd name="connsiteY46" fmla="*/ 280504 h 344988"/>
                <a:gd name="connsiteX47" fmla="*/ 138258 w 344587"/>
                <a:gd name="connsiteY47" fmla="*/ 276075 h 344988"/>
                <a:gd name="connsiteX48" fmla="*/ 140640 w 344587"/>
                <a:gd name="connsiteY48" fmla="*/ 271811 h 344988"/>
                <a:gd name="connsiteX49" fmla="*/ 135875 w 344587"/>
                <a:gd name="connsiteY49" fmla="*/ 272467 h 344988"/>
                <a:gd name="connsiteX50" fmla="*/ 228015 w 344587"/>
                <a:gd name="connsiteY50" fmla="*/ 260644 h 344988"/>
                <a:gd name="connsiteX51" fmla="*/ 225418 w 344587"/>
                <a:gd name="connsiteY51" fmla="*/ 264769 h 344988"/>
                <a:gd name="connsiteX52" fmla="*/ 220576 w 344587"/>
                <a:gd name="connsiteY52" fmla="*/ 264959 h 344988"/>
                <a:gd name="connsiteX53" fmla="*/ 223687 w 344587"/>
                <a:gd name="connsiteY53" fmla="*/ 268704 h 344988"/>
                <a:gd name="connsiteX54" fmla="*/ 222361 w 344587"/>
                <a:gd name="connsiteY54" fmla="*/ 273372 h 344988"/>
                <a:gd name="connsiteX55" fmla="*/ 226879 w 344587"/>
                <a:gd name="connsiteY55" fmla="*/ 271581 h 344988"/>
                <a:gd name="connsiteX56" fmla="*/ 230910 w 344587"/>
                <a:gd name="connsiteY56" fmla="*/ 274268 h 344988"/>
                <a:gd name="connsiteX57" fmla="*/ 230585 w 344587"/>
                <a:gd name="connsiteY57" fmla="*/ 269410 h 344988"/>
                <a:gd name="connsiteX58" fmla="*/ 234399 w 344587"/>
                <a:gd name="connsiteY58" fmla="*/ 266398 h 344988"/>
                <a:gd name="connsiteX59" fmla="*/ 229692 w 344587"/>
                <a:gd name="connsiteY59" fmla="*/ 265204 h 344988"/>
                <a:gd name="connsiteX60" fmla="*/ 116572 w 344587"/>
                <a:gd name="connsiteY60" fmla="*/ 260644 h 344988"/>
                <a:gd name="connsiteX61" fmla="*/ 114895 w 344587"/>
                <a:gd name="connsiteY61" fmla="*/ 265204 h 344988"/>
                <a:gd name="connsiteX62" fmla="*/ 110188 w 344587"/>
                <a:gd name="connsiteY62" fmla="*/ 266398 h 344988"/>
                <a:gd name="connsiteX63" fmla="*/ 114002 w 344587"/>
                <a:gd name="connsiteY63" fmla="*/ 269410 h 344988"/>
                <a:gd name="connsiteX64" fmla="*/ 113678 w 344587"/>
                <a:gd name="connsiteY64" fmla="*/ 274268 h 344988"/>
                <a:gd name="connsiteX65" fmla="*/ 117708 w 344587"/>
                <a:gd name="connsiteY65" fmla="*/ 271581 h 344988"/>
                <a:gd name="connsiteX66" fmla="*/ 122226 w 344587"/>
                <a:gd name="connsiteY66" fmla="*/ 273372 h 344988"/>
                <a:gd name="connsiteX67" fmla="*/ 120900 w 344587"/>
                <a:gd name="connsiteY67" fmla="*/ 268704 h 344988"/>
                <a:gd name="connsiteX68" fmla="*/ 124011 w 344587"/>
                <a:gd name="connsiteY68" fmla="*/ 264959 h 344988"/>
                <a:gd name="connsiteX69" fmla="*/ 119169 w 344587"/>
                <a:gd name="connsiteY69" fmla="*/ 264769 h 344988"/>
                <a:gd name="connsiteX70" fmla="*/ 242363 w 344587"/>
                <a:gd name="connsiteY70" fmla="*/ 249625 h 344988"/>
                <a:gd name="connsiteX71" fmla="*/ 240527 w 344587"/>
                <a:gd name="connsiteY71" fmla="*/ 254100 h 344988"/>
                <a:gd name="connsiteX72" fmla="*/ 235802 w 344587"/>
                <a:gd name="connsiteY72" fmla="*/ 255124 h 344988"/>
                <a:gd name="connsiteX73" fmla="*/ 239501 w 344587"/>
                <a:gd name="connsiteY73" fmla="*/ 258251 h 344988"/>
                <a:gd name="connsiteX74" fmla="*/ 239015 w 344587"/>
                <a:gd name="connsiteY74" fmla="*/ 263048 h 344988"/>
                <a:gd name="connsiteX75" fmla="*/ 243119 w 344587"/>
                <a:gd name="connsiteY75" fmla="*/ 260515 h 344988"/>
                <a:gd name="connsiteX76" fmla="*/ 247546 w 344587"/>
                <a:gd name="connsiteY76" fmla="*/ 262455 h 344988"/>
                <a:gd name="connsiteX77" fmla="*/ 246413 w 344587"/>
                <a:gd name="connsiteY77" fmla="*/ 257766 h 344988"/>
                <a:gd name="connsiteX78" fmla="*/ 249625 w 344587"/>
                <a:gd name="connsiteY78" fmla="*/ 254154 h 344988"/>
                <a:gd name="connsiteX79" fmla="*/ 244792 w 344587"/>
                <a:gd name="connsiteY79" fmla="*/ 253776 h 344988"/>
                <a:gd name="connsiteX80" fmla="*/ 102024 w 344587"/>
                <a:gd name="connsiteY80" fmla="*/ 249625 h 344988"/>
                <a:gd name="connsiteX81" fmla="*/ 99594 w 344587"/>
                <a:gd name="connsiteY81" fmla="*/ 253776 h 344988"/>
                <a:gd name="connsiteX82" fmla="*/ 94762 w 344587"/>
                <a:gd name="connsiteY82" fmla="*/ 254154 h 344988"/>
                <a:gd name="connsiteX83" fmla="*/ 97975 w 344587"/>
                <a:gd name="connsiteY83" fmla="*/ 257766 h 344988"/>
                <a:gd name="connsiteX84" fmla="*/ 96841 w 344587"/>
                <a:gd name="connsiteY84" fmla="*/ 262455 h 344988"/>
                <a:gd name="connsiteX85" fmla="*/ 101268 w 344587"/>
                <a:gd name="connsiteY85" fmla="*/ 260515 h 344988"/>
                <a:gd name="connsiteX86" fmla="*/ 105372 w 344587"/>
                <a:gd name="connsiteY86" fmla="*/ 263048 h 344988"/>
                <a:gd name="connsiteX87" fmla="*/ 104886 w 344587"/>
                <a:gd name="connsiteY87" fmla="*/ 258251 h 344988"/>
                <a:gd name="connsiteX88" fmla="*/ 108585 w 344587"/>
                <a:gd name="connsiteY88" fmla="*/ 255124 h 344988"/>
                <a:gd name="connsiteX89" fmla="*/ 103860 w 344587"/>
                <a:gd name="connsiteY89" fmla="*/ 254100 h 344988"/>
                <a:gd name="connsiteX90" fmla="*/ 254712 w 344587"/>
                <a:gd name="connsiteY90" fmla="*/ 236203 h 344988"/>
                <a:gd name="connsiteX91" fmla="*/ 253690 w 344587"/>
                <a:gd name="connsiteY91" fmla="*/ 240928 h 344988"/>
                <a:gd name="connsiteX92" fmla="*/ 249225 w 344587"/>
                <a:gd name="connsiteY92" fmla="*/ 242764 h 344988"/>
                <a:gd name="connsiteX93" fmla="*/ 253394 w 344587"/>
                <a:gd name="connsiteY93" fmla="*/ 245220 h 344988"/>
                <a:gd name="connsiteX94" fmla="*/ 253771 w 344587"/>
                <a:gd name="connsiteY94" fmla="*/ 250026 h 344988"/>
                <a:gd name="connsiteX95" fmla="*/ 257348 w 344587"/>
                <a:gd name="connsiteY95" fmla="*/ 246813 h 344988"/>
                <a:gd name="connsiteX96" fmla="*/ 262056 w 344587"/>
                <a:gd name="connsiteY96" fmla="*/ 247974 h 344988"/>
                <a:gd name="connsiteX97" fmla="*/ 260119 w 344587"/>
                <a:gd name="connsiteY97" fmla="*/ 243520 h 344988"/>
                <a:gd name="connsiteX98" fmla="*/ 262648 w 344587"/>
                <a:gd name="connsiteY98" fmla="*/ 239416 h 344988"/>
                <a:gd name="connsiteX99" fmla="*/ 257833 w 344587"/>
                <a:gd name="connsiteY99" fmla="*/ 239902 h 344988"/>
                <a:gd name="connsiteX100" fmla="*/ 89793 w 344587"/>
                <a:gd name="connsiteY100" fmla="*/ 236203 h 344988"/>
                <a:gd name="connsiteX101" fmla="*/ 86626 w 344587"/>
                <a:gd name="connsiteY101" fmla="*/ 239902 h 344988"/>
                <a:gd name="connsiteX102" fmla="*/ 81739 w 344587"/>
                <a:gd name="connsiteY102" fmla="*/ 239416 h 344988"/>
                <a:gd name="connsiteX103" fmla="*/ 84333 w 344587"/>
                <a:gd name="connsiteY103" fmla="*/ 243520 h 344988"/>
                <a:gd name="connsiteX104" fmla="*/ 82340 w 344587"/>
                <a:gd name="connsiteY104" fmla="*/ 247974 h 344988"/>
                <a:gd name="connsiteX105" fmla="*/ 87118 w 344587"/>
                <a:gd name="connsiteY105" fmla="*/ 246813 h 344988"/>
                <a:gd name="connsiteX106" fmla="*/ 90749 w 344587"/>
                <a:gd name="connsiteY106" fmla="*/ 250026 h 344988"/>
                <a:gd name="connsiteX107" fmla="*/ 91131 w 344587"/>
                <a:gd name="connsiteY107" fmla="*/ 245220 h 344988"/>
                <a:gd name="connsiteX108" fmla="*/ 95363 w 344587"/>
                <a:gd name="connsiteY108" fmla="*/ 242764 h 344988"/>
                <a:gd name="connsiteX109" fmla="*/ 90831 w 344587"/>
                <a:gd name="connsiteY109" fmla="*/ 240928 h 344988"/>
                <a:gd name="connsiteX110" fmla="*/ 264558 w 344587"/>
                <a:gd name="connsiteY110" fmla="*/ 220977 h 344988"/>
                <a:gd name="connsiteX111" fmla="*/ 264341 w 344587"/>
                <a:gd name="connsiteY111" fmla="*/ 225819 h 344988"/>
                <a:gd name="connsiteX112" fmla="*/ 260243 w 344587"/>
                <a:gd name="connsiteY112" fmla="*/ 228416 h 344988"/>
                <a:gd name="connsiteX113" fmla="*/ 264803 w 344587"/>
                <a:gd name="connsiteY113" fmla="*/ 230093 h 344988"/>
                <a:gd name="connsiteX114" fmla="*/ 265997 w 344587"/>
                <a:gd name="connsiteY114" fmla="*/ 234800 h 344988"/>
                <a:gd name="connsiteX115" fmla="*/ 269009 w 344587"/>
                <a:gd name="connsiteY115" fmla="*/ 230986 h 344988"/>
                <a:gd name="connsiteX116" fmla="*/ 273867 w 344587"/>
                <a:gd name="connsiteY116" fmla="*/ 231311 h 344988"/>
                <a:gd name="connsiteX117" fmla="*/ 271180 w 344587"/>
                <a:gd name="connsiteY117" fmla="*/ 227280 h 344988"/>
                <a:gd name="connsiteX118" fmla="*/ 272971 w 344587"/>
                <a:gd name="connsiteY118" fmla="*/ 222762 h 344988"/>
                <a:gd name="connsiteX119" fmla="*/ 268276 w 344587"/>
                <a:gd name="connsiteY119" fmla="*/ 224088 h 344988"/>
                <a:gd name="connsiteX120" fmla="*/ 80029 w 344587"/>
                <a:gd name="connsiteY120" fmla="*/ 220977 h 344988"/>
                <a:gd name="connsiteX121" fmla="*/ 76311 w 344587"/>
                <a:gd name="connsiteY121" fmla="*/ 224088 h 344988"/>
                <a:gd name="connsiteX122" fmla="*/ 71616 w 344587"/>
                <a:gd name="connsiteY122" fmla="*/ 222762 h 344988"/>
                <a:gd name="connsiteX123" fmla="*/ 73407 w 344587"/>
                <a:gd name="connsiteY123" fmla="*/ 227280 h 344988"/>
                <a:gd name="connsiteX124" fmla="*/ 70721 w 344587"/>
                <a:gd name="connsiteY124" fmla="*/ 231311 h 344988"/>
                <a:gd name="connsiteX125" fmla="*/ 75578 w 344587"/>
                <a:gd name="connsiteY125" fmla="*/ 230986 h 344988"/>
                <a:gd name="connsiteX126" fmla="*/ 78590 w 344587"/>
                <a:gd name="connsiteY126" fmla="*/ 234800 h 344988"/>
                <a:gd name="connsiteX127" fmla="*/ 79785 w 344587"/>
                <a:gd name="connsiteY127" fmla="*/ 230093 h 344988"/>
                <a:gd name="connsiteX128" fmla="*/ 84344 w 344587"/>
                <a:gd name="connsiteY128" fmla="*/ 228416 h 344988"/>
                <a:gd name="connsiteX129" fmla="*/ 80246 w 344587"/>
                <a:gd name="connsiteY129" fmla="*/ 225819 h 344988"/>
                <a:gd name="connsiteX130" fmla="*/ 271410 w 344587"/>
                <a:gd name="connsiteY130" fmla="*/ 204148 h 344988"/>
                <a:gd name="connsiteX131" fmla="*/ 272066 w 344587"/>
                <a:gd name="connsiteY131" fmla="*/ 208985 h 344988"/>
                <a:gd name="connsiteX132" fmla="*/ 268457 w 344587"/>
                <a:gd name="connsiteY132" fmla="*/ 212245 h 344988"/>
                <a:gd name="connsiteX133" fmla="*/ 273269 w 344587"/>
                <a:gd name="connsiteY133" fmla="*/ 213115 h 344988"/>
                <a:gd name="connsiteX134" fmla="*/ 275292 w 344587"/>
                <a:gd name="connsiteY134" fmla="*/ 217571 h 344988"/>
                <a:gd name="connsiteX135" fmla="*/ 277615 w 344587"/>
                <a:gd name="connsiteY135" fmla="*/ 213278 h 344988"/>
                <a:gd name="connsiteX136" fmla="*/ 282481 w 344587"/>
                <a:gd name="connsiteY136" fmla="*/ 212734 h 344988"/>
                <a:gd name="connsiteX137" fmla="*/ 279091 w 344587"/>
                <a:gd name="connsiteY137" fmla="*/ 209229 h 344988"/>
                <a:gd name="connsiteX138" fmla="*/ 280076 w 344587"/>
                <a:gd name="connsiteY138" fmla="*/ 204447 h 344988"/>
                <a:gd name="connsiteX139" fmla="*/ 275674 w 344587"/>
                <a:gd name="connsiteY139" fmla="*/ 206566 h 344988"/>
                <a:gd name="connsiteX140" fmla="*/ 73019 w 344587"/>
                <a:gd name="connsiteY140" fmla="*/ 204148 h 344988"/>
                <a:gd name="connsiteX141" fmla="*/ 68816 w 344587"/>
                <a:gd name="connsiteY141" fmla="*/ 206566 h 344988"/>
                <a:gd name="connsiteX142" fmla="*/ 64477 w 344587"/>
                <a:gd name="connsiteY142" fmla="*/ 204447 h 344988"/>
                <a:gd name="connsiteX143" fmla="*/ 65447 w 344587"/>
                <a:gd name="connsiteY143" fmla="*/ 209229 h 344988"/>
                <a:gd name="connsiteX144" fmla="*/ 62106 w 344587"/>
                <a:gd name="connsiteY144" fmla="*/ 212734 h 344988"/>
                <a:gd name="connsiteX145" fmla="*/ 66903 w 344587"/>
                <a:gd name="connsiteY145" fmla="*/ 213278 h 344988"/>
                <a:gd name="connsiteX146" fmla="*/ 69193 w 344587"/>
                <a:gd name="connsiteY146" fmla="*/ 217571 h 344988"/>
                <a:gd name="connsiteX147" fmla="*/ 71187 w 344587"/>
                <a:gd name="connsiteY147" fmla="*/ 213115 h 344988"/>
                <a:gd name="connsiteX148" fmla="*/ 75929 w 344587"/>
                <a:gd name="connsiteY148" fmla="*/ 212245 h 344988"/>
                <a:gd name="connsiteX149" fmla="*/ 72373 w 344587"/>
                <a:gd name="connsiteY149" fmla="*/ 208985 h 344988"/>
                <a:gd name="connsiteX150" fmla="*/ 283915 w 344587"/>
                <a:gd name="connsiteY150" fmla="*/ 185116 h 344988"/>
                <a:gd name="connsiteX151" fmla="*/ 279950 w 344587"/>
                <a:gd name="connsiteY151" fmla="*/ 187963 h 344988"/>
                <a:gd name="connsiteX152" fmla="*/ 275388 w 344587"/>
                <a:gd name="connsiteY152" fmla="*/ 186320 h 344988"/>
                <a:gd name="connsiteX153" fmla="*/ 276854 w 344587"/>
                <a:gd name="connsiteY153" fmla="*/ 191001 h 344988"/>
                <a:gd name="connsiteX154" fmla="*/ 273867 w 344587"/>
                <a:gd name="connsiteY154" fmla="*/ 194861 h 344988"/>
                <a:gd name="connsiteX155" fmla="*/ 278755 w 344587"/>
                <a:gd name="connsiteY155" fmla="*/ 194888 h 344988"/>
                <a:gd name="connsiteX156" fmla="*/ 281498 w 344587"/>
                <a:gd name="connsiteY156" fmla="*/ 198939 h 344988"/>
                <a:gd name="connsiteX157" fmla="*/ 283019 w 344587"/>
                <a:gd name="connsiteY157" fmla="*/ 194286 h 344988"/>
                <a:gd name="connsiteX158" fmla="*/ 287690 w 344587"/>
                <a:gd name="connsiteY158" fmla="*/ 192917 h 344988"/>
                <a:gd name="connsiteX159" fmla="*/ 283780 w 344587"/>
                <a:gd name="connsiteY159" fmla="*/ 190015 h 344988"/>
                <a:gd name="connsiteX160" fmla="*/ 60472 w 344587"/>
                <a:gd name="connsiteY160" fmla="*/ 185116 h 344988"/>
                <a:gd name="connsiteX161" fmla="*/ 60608 w 344587"/>
                <a:gd name="connsiteY161" fmla="*/ 190015 h 344988"/>
                <a:gd name="connsiteX162" fmla="*/ 56697 w 344587"/>
                <a:gd name="connsiteY162" fmla="*/ 192917 h 344988"/>
                <a:gd name="connsiteX163" fmla="*/ 61368 w 344587"/>
                <a:gd name="connsiteY163" fmla="*/ 194286 h 344988"/>
                <a:gd name="connsiteX164" fmla="*/ 62889 w 344587"/>
                <a:gd name="connsiteY164" fmla="*/ 198939 h 344988"/>
                <a:gd name="connsiteX165" fmla="*/ 65632 w 344587"/>
                <a:gd name="connsiteY165" fmla="*/ 194888 h 344988"/>
                <a:gd name="connsiteX166" fmla="*/ 70520 w 344587"/>
                <a:gd name="connsiteY166" fmla="*/ 194861 h 344988"/>
                <a:gd name="connsiteX167" fmla="*/ 67533 w 344587"/>
                <a:gd name="connsiteY167" fmla="*/ 191001 h 344988"/>
                <a:gd name="connsiteX168" fmla="*/ 68999 w 344587"/>
                <a:gd name="connsiteY168" fmla="*/ 186320 h 344988"/>
                <a:gd name="connsiteX169" fmla="*/ 64437 w 344587"/>
                <a:gd name="connsiteY169" fmla="*/ 187963 h 344988"/>
                <a:gd name="connsiteX170" fmla="*/ 284437 w 344587"/>
                <a:gd name="connsiteY170" fmla="*/ 165482 h 344988"/>
                <a:gd name="connsiteX171" fmla="*/ 281057 w 344587"/>
                <a:gd name="connsiteY171" fmla="*/ 168981 h 344988"/>
                <a:gd name="connsiteX172" fmla="*/ 276271 w 344587"/>
                <a:gd name="connsiteY172" fmla="*/ 168161 h 344988"/>
                <a:gd name="connsiteX173" fmla="*/ 278542 w 344587"/>
                <a:gd name="connsiteY173" fmla="*/ 172508 h 344988"/>
                <a:gd name="connsiteX174" fmla="*/ 276271 w 344587"/>
                <a:gd name="connsiteY174" fmla="*/ 176827 h 344988"/>
                <a:gd name="connsiteX175" fmla="*/ 281057 w 344587"/>
                <a:gd name="connsiteY175" fmla="*/ 176007 h 344988"/>
                <a:gd name="connsiteX176" fmla="*/ 284437 w 344587"/>
                <a:gd name="connsiteY176" fmla="*/ 179506 h 344988"/>
                <a:gd name="connsiteX177" fmla="*/ 285140 w 344587"/>
                <a:gd name="connsiteY177" fmla="*/ 174667 h 344988"/>
                <a:gd name="connsiteX178" fmla="*/ 289493 w 344587"/>
                <a:gd name="connsiteY178" fmla="*/ 172508 h 344988"/>
                <a:gd name="connsiteX179" fmla="*/ 285140 w 344587"/>
                <a:gd name="connsiteY179" fmla="*/ 170321 h 344988"/>
                <a:gd name="connsiteX180" fmla="*/ 60027 w 344587"/>
                <a:gd name="connsiteY180" fmla="*/ 165482 h 344988"/>
                <a:gd name="connsiteX181" fmla="*/ 59313 w 344587"/>
                <a:gd name="connsiteY181" fmla="*/ 170321 h 344988"/>
                <a:gd name="connsiteX182" fmla="*/ 54894 w 344587"/>
                <a:gd name="connsiteY182" fmla="*/ 172508 h 344988"/>
                <a:gd name="connsiteX183" fmla="*/ 59313 w 344587"/>
                <a:gd name="connsiteY183" fmla="*/ 174667 h 344988"/>
                <a:gd name="connsiteX184" fmla="*/ 60027 w 344587"/>
                <a:gd name="connsiteY184" fmla="*/ 179506 h 344988"/>
                <a:gd name="connsiteX185" fmla="*/ 63458 w 344587"/>
                <a:gd name="connsiteY185" fmla="*/ 176007 h 344988"/>
                <a:gd name="connsiteX186" fmla="*/ 68317 w 344587"/>
                <a:gd name="connsiteY186" fmla="*/ 176827 h 344988"/>
                <a:gd name="connsiteX187" fmla="*/ 66011 w 344587"/>
                <a:gd name="connsiteY187" fmla="*/ 172508 h 344988"/>
                <a:gd name="connsiteX188" fmla="*/ 68317 w 344587"/>
                <a:gd name="connsiteY188" fmla="*/ 168161 h 344988"/>
                <a:gd name="connsiteX189" fmla="*/ 63458 w 344587"/>
                <a:gd name="connsiteY189" fmla="*/ 168981 h 344988"/>
                <a:gd name="connsiteX190" fmla="*/ 281498 w 344587"/>
                <a:gd name="connsiteY190" fmla="*/ 146049 h 344988"/>
                <a:gd name="connsiteX191" fmla="*/ 278755 w 344587"/>
                <a:gd name="connsiteY191" fmla="*/ 150092 h 344988"/>
                <a:gd name="connsiteX192" fmla="*/ 273867 w 344587"/>
                <a:gd name="connsiteY192" fmla="*/ 150120 h 344988"/>
                <a:gd name="connsiteX193" fmla="*/ 276854 w 344587"/>
                <a:gd name="connsiteY193" fmla="*/ 153999 h 344988"/>
                <a:gd name="connsiteX194" fmla="*/ 275388 w 344587"/>
                <a:gd name="connsiteY194" fmla="*/ 158670 h 344988"/>
                <a:gd name="connsiteX195" fmla="*/ 279950 w 344587"/>
                <a:gd name="connsiteY195" fmla="*/ 157004 h 344988"/>
                <a:gd name="connsiteX196" fmla="*/ 283915 w 344587"/>
                <a:gd name="connsiteY196" fmla="*/ 159872 h 344988"/>
                <a:gd name="connsiteX197" fmla="*/ 283780 w 344587"/>
                <a:gd name="connsiteY197" fmla="*/ 154955 h 344988"/>
                <a:gd name="connsiteX198" fmla="*/ 287690 w 344587"/>
                <a:gd name="connsiteY198" fmla="*/ 152059 h 344988"/>
                <a:gd name="connsiteX199" fmla="*/ 283019 w 344587"/>
                <a:gd name="connsiteY199" fmla="*/ 150693 h 344988"/>
                <a:gd name="connsiteX200" fmla="*/ 62889 w 344587"/>
                <a:gd name="connsiteY200" fmla="*/ 146049 h 344988"/>
                <a:gd name="connsiteX201" fmla="*/ 61368 w 344587"/>
                <a:gd name="connsiteY201" fmla="*/ 150693 h 344988"/>
                <a:gd name="connsiteX202" fmla="*/ 56697 w 344587"/>
                <a:gd name="connsiteY202" fmla="*/ 152059 h 344988"/>
                <a:gd name="connsiteX203" fmla="*/ 60608 w 344587"/>
                <a:gd name="connsiteY203" fmla="*/ 154955 h 344988"/>
                <a:gd name="connsiteX204" fmla="*/ 60472 w 344587"/>
                <a:gd name="connsiteY204" fmla="*/ 159872 h 344988"/>
                <a:gd name="connsiteX205" fmla="*/ 64437 w 344587"/>
                <a:gd name="connsiteY205" fmla="*/ 157004 h 344988"/>
                <a:gd name="connsiteX206" fmla="*/ 68999 w 344587"/>
                <a:gd name="connsiteY206" fmla="*/ 158670 h 344988"/>
                <a:gd name="connsiteX207" fmla="*/ 67533 w 344587"/>
                <a:gd name="connsiteY207" fmla="*/ 153999 h 344988"/>
                <a:gd name="connsiteX208" fmla="*/ 70520 w 344587"/>
                <a:gd name="connsiteY208" fmla="*/ 150120 h 344988"/>
                <a:gd name="connsiteX209" fmla="*/ 65632 w 344587"/>
                <a:gd name="connsiteY209" fmla="*/ 150092 h 344988"/>
                <a:gd name="connsiteX210" fmla="*/ 275292 w 344587"/>
                <a:gd name="connsiteY210" fmla="*/ 127618 h 344988"/>
                <a:gd name="connsiteX211" fmla="*/ 273269 w 344587"/>
                <a:gd name="connsiteY211" fmla="*/ 132007 h 344988"/>
                <a:gd name="connsiteX212" fmla="*/ 268457 w 344587"/>
                <a:gd name="connsiteY212" fmla="*/ 132864 h 344988"/>
                <a:gd name="connsiteX213" fmla="*/ 272066 w 344587"/>
                <a:gd name="connsiteY213" fmla="*/ 136103 h 344988"/>
                <a:gd name="connsiteX214" fmla="*/ 271410 w 344587"/>
                <a:gd name="connsiteY214" fmla="*/ 140840 h 344988"/>
                <a:gd name="connsiteX215" fmla="*/ 275674 w 344587"/>
                <a:gd name="connsiteY215" fmla="*/ 138458 h 344988"/>
                <a:gd name="connsiteX216" fmla="*/ 280076 w 344587"/>
                <a:gd name="connsiteY216" fmla="*/ 140546 h 344988"/>
                <a:gd name="connsiteX217" fmla="*/ 279091 w 344587"/>
                <a:gd name="connsiteY217" fmla="*/ 135862 h 344988"/>
                <a:gd name="connsiteX218" fmla="*/ 282481 w 344587"/>
                <a:gd name="connsiteY218" fmla="*/ 132382 h 344988"/>
                <a:gd name="connsiteX219" fmla="*/ 277615 w 344587"/>
                <a:gd name="connsiteY219" fmla="*/ 131847 h 344988"/>
                <a:gd name="connsiteX220" fmla="*/ 69193 w 344587"/>
                <a:gd name="connsiteY220" fmla="*/ 127618 h 344988"/>
                <a:gd name="connsiteX221" fmla="*/ 66903 w 344587"/>
                <a:gd name="connsiteY221" fmla="*/ 131847 h 344988"/>
                <a:gd name="connsiteX222" fmla="*/ 62106 w 344587"/>
                <a:gd name="connsiteY222" fmla="*/ 132382 h 344988"/>
                <a:gd name="connsiteX223" fmla="*/ 65447 w 344587"/>
                <a:gd name="connsiteY223" fmla="*/ 135862 h 344988"/>
                <a:gd name="connsiteX224" fmla="*/ 64477 w 344587"/>
                <a:gd name="connsiteY224" fmla="*/ 140546 h 344988"/>
                <a:gd name="connsiteX225" fmla="*/ 68816 w 344587"/>
                <a:gd name="connsiteY225" fmla="*/ 138458 h 344988"/>
                <a:gd name="connsiteX226" fmla="*/ 73019 w 344587"/>
                <a:gd name="connsiteY226" fmla="*/ 140840 h 344988"/>
                <a:gd name="connsiteX227" fmla="*/ 72373 w 344587"/>
                <a:gd name="connsiteY227" fmla="*/ 136103 h 344988"/>
                <a:gd name="connsiteX228" fmla="*/ 75929 w 344587"/>
                <a:gd name="connsiteY228" fmla="*/ 132864 h 344988"/>
                <a:gd name="connsiteX229" fmla="*/ 71187 w 344587"/>
                <a:gd name="connsiteY229" fmla="*/ 132007 h 344988"/>
                <a:gd name="connsiteX230" fmla="*/ 265997 w 344587"/>
                <a:gd name="connsiteY230" fmla="*/ 110188 h 344988"/>
                <a:gd name="connsiteX231" fmla="*/ 264803 w 344587"/>
                <a:gd name="connsiteY231" fmla="*/ 114963 h 344988"/>
                <a:gd name="connsiteX232" fmla="*/ 260243 w 344587"/>
                <a:gd name="connsiteY232" fmla="*/ 116665 h 344988"/>
                <a:gd name="connsiteX233" fmla="*/ 264341 w 344587"/>
                <a:gd name="connsiteY233" fmla="*/ 119299 h 344988"/>
                <a:gd name="connsiteX234" fmla="*/ 264558 w 344587"/>
                <a:gd name="connsiteY234" fmla="*/ 124212 h 344988"/>
                <a:gd name="connsiteX235" fmla="*/ 268276 w 344587"/>
                <a:gd name="connsiteY235" fmla="*/ 121083 h 344988"/>
                <a:gd name="connsiteX236" fmla="*/ 272971 w 344587"/>
                <a:gd name="connsiteY236" fmla="*/ 122401 h 344988"/>
                <a:gd name="connsiteX237" fmla="*/ 271180 w 344587"/>
                <a:gd name="connsiteY237" fmla="*/ 117845 h 344988"/>
                <a:gd name="connsiteX238" fmla="*/ 273867 w 344587"/>
                <a:gd name="connsiteY238" fmla="*/ 113756 h 344988"/>
                <a:gd name="connsiteX239" fmla="*/ 269009 w 344587"/>
                <a:gd name="connsiteY239" fmla="*/ 114057 h 344988"/>
                <a:gd name="connsiteX240" fmla="*/ 78590 w 344587"/>
                <a:gd name="connsiteY240" fmla="*/ 110188 h 344988"/>
                <a:gd name="connsiteX241" fmla="*/ 75578 w 344587"/>
                <a:gd name="connsiteY241" fmla="*/ 114057 h 344988"/>
                <a:gd name="connsiteX242" fmla="*/ 70721 w 344587"/>
                <a:gd name="connsiteY242" fmla="*/ 113756 h 344988"/>
                <a:gd name="connsiteX243" fmla="*/ 73407 w 344587"/>
                <a:gd name="connsiteY243" fmla="*/ 117845 h 344988"/>
                <a:gd name="connsiteX244" fmla="*/ 71616 w 344587"/>
                <a:gd name="connsiteY244" fmla="*/ 122401 h 344988"/>
                <a:gd name="connsiteX245" fmla="*/ 76311 w 344587"/>
                <a:gd name="connsiteY245" fmla="*/ 121083 h 344988"/>
                <a:gd name="connsiteX246" fmla="*/ 80029 w 344587"/>
                <a:gd name="connsiteY246" fmla="*/ 124212 h 344988"/>
                <a:gd name="connsiteX247" fmla="*/ 80246 w 344587"/>
                <a:gd name="connsiteY247" fmla="*/ 119299 h 344988"/>
                <a:gd name="connsiteX248" fmla="*/ 84344 w 344587"/>
                <a:gd name="connsiteY248" fmla="*/ 116665 h 344988"/>
                <a:gd name="connsiteX249" fmla="*/ 79785 w 344587"/>
                <a:gd name="connsiteY249" fmla="*/ 114963 h 344988"/>
                <a:gd name="connsiteX250" fmla="*/ 172293 w 344587"/>
                <a:gd name="connsiteY250" fmla="*/ 107507 h 344988"/>
                <a:gd name="connsiteX251" fmla="*/ 164742 w 344587"/>
                <a:gd name="connsiteY251" fmla="*/ 112163 h 344988"/>
                <a:gd name="connsiteX252" fmla="*/ 148477 w 344587"/>
                <a:gd name="connsiteY252" fmla="*/ 145335 h 344988"/>
                <a:gd name="connsiteX253" fmla="*/ 111881 w 344587"/>
                <a:gd name="connsiteY253" fmla="*/ 150766 h 344988"/>
                <a:gd name="connsiteX254" fmla="*/ 104910 w 344587"/>
                <a:gd name="connsiteY254" fmla="*/ 156392 h 344988"/>
                <a:gd name="connsiteX255" fmla="*/ 107234 w 344587"/>
                <a:gd name="connsiteY255" fmla="*/ 165121 h 344988"/>
                <a:gd name="connsiteX256" fmla="*/ 133567 w 344587"/>
                <a:gd name="connsiteY256" fmla="*/ 190922 h 344988"/>
                <a:gd name="connsiteX257" fmla="*/ 127371 w 344587"/>
                <a:gd name="connsiteY257" fmla="*/ 227392 h 344988"/>
                <a:gd name="connsiteX258" fmla="*/ 130663 w 344587"/>
                <a:gd name="connsiteY258" fmla="*/ 235733 h 344988"/>
                <a:gd name="connsiteX259" fmla="*/ 135697 w 344587"/>
                <a:gd name="connsiteY259" fmla="*/ 237479 h 344988"/>
                <a:gd name="connsiteX260" fmla="*/ 139570 w 344587"/>
                <a:gd name="connsiteY260" fmla="*/ 236509 h 344988"/>
                <a:gd name="connsiteX261" fmla="*/ 172293 w 344587"/>
                <a:gd name="connsiteY261" fmla="*/ 219244 h 344988"/>
                <a:gd name="connsiteX262" fmla="*/ 205016 w 344587"/>
                <a:gd name="connsiteY262" fmla="*/ 236509 h 344988"/>
                <a:gd name="connsiteX263" fmla="*/ 209083 w 344587"/>
                <a:gd name="connsiteY263" fmla="*/ 237479 h 344988"/>
                <a:gd name="connsiteX264" fmla="*/ 213923 w 344587"/>
                <a:gd name="connsiteY264" fmla="*/ 235733 h 344988"/>
                <a:gd name="connsiteX265" fmla="*/ 217409 w 344587"/>
                <a:gd name="connsiteY265" fmla="*/ 227392 h 344988"/>
                <a:gd name="connsiteX266" fmla="*/ 211213 w 344587"/>
                <a:gd name="connsiteY266" fmla="*/ 190922 h 344988"/>
                <a:gd name="connsiteX267" fmla="*/ 237546 w 344587"/>
                <a:gd name="connsiteY267" fmla="*/ 165121 h 344988"/>
                <a:gd name="connsiteX268" fmla="*/ 239676 w 344587"/>
                <a:gd name="connsiteY268" fmla="*/ 156392 h 344988"/>
                <a:gd name="connsiteX269" fmla="*/ 232899 w 344587"/>
                <a:gd name="connsiteY269" fmla="*/ 150766 h 344988"/>
                <a:gd name="connsiteX270" fmla="*/ 196303 w 344587"/>
                <a:gd name="connsiteY270" fmla="*/ 145335 h 344988"/>
                <a:gd name="connsiteX271" fmla="*/ 180038 w 344587"/>
                <a:gd name="connsiteY271" fmla="*/ 112163 h 344988"/>
                <a:gd name="connsiteX272" fmla="*/ 172293 w 344587"/>
                <a:gd name="connsiteY272" fmla="*/ 107507 h 344988"/>
                <a:gd name="connsiteX273" fmla="*/ 253771 w 344587"/>
                <a:gd name="connsiteY273" fmla="*/ 94962 h 344988"/>
                <a:gd name="connsiteX274" fmla="*/ 253394 w 344587"/>
                <a:gd name="connsiteY274" fmla="*/ 99795 h 344988"/>
                <a:gd name="connsiteX275" fmla="*/ 249225 w 344587"/>
                <a:gd name="connsiteY275" fmla="*/ 102225 h 344988"/>
                <a:gd name="connsiteX276" fmla="*/ 253690 w 344587"/>
                <a:gd name="connsiteY276" fmla="*/ 104061 h 344988"/>
                <a:gd name="connsiteX277" fmla="*/ 254712 w 344587"/>
                <a:gd name="connsiteY277" fmla="*/ 108785 h 344988"/>
                <a:gd name="connsiteX278" fmla="*/ 257833 w 344587"/>
                <a:gd name="connsiteY278" fmla="*/ 105114 h 344988"/>
                <a:gd name="connsiteX279" fmla="*/ 262648 w 344587"/>
                <a:gd name="connsiteY279" fmla="*/ 105573 h 344988"/>
                <a:gd name="connsiteX280" fmla="*/ 260119 w 344587"/>
                <a:gd name="connsiteY280" fmla="*/ 101469 h 344988"/>
                <a:gd name="connsiteX281" fmla="*/ 262056 w 344587"/>
                <a:gd name="connsiteY281" fmla="*/ 97041 h 344988"/>
                <a:gd name="connsiteX282" fmla="*/ 257348 w 344587"/>
                <a:gd name="connsiteY282" fmla="*/ 98175 h 344988"/>
                <a:gd name="connsiteX283" fmla="*/ 90749 w 344587"/>
                <a:gd name="connsiteY283" fmla="*/ 94962 h 344988"/>
                <a:gd name="connsiteX284" fmla="*/ 87118 w 344587"/>
                <a:gd name="connsiteY284" fmla="*/ 98175 h 344988"/>
                <a:gd name="connsiteX285" fmla="*/ 82340 w 344587"/>
                <a:gd name="connsiteY285" fmla="*/ 97041 h 344988"/>
                <a:gd name="connsiteX286" fmla="*/ 84333 w 344587"/>
                <a:gd name="connsiteY286" fmla="*/ 101469 h 344988"/>
                <a:gd name="connsiteX287" fmla="*/ 81739 w 344587"/>
                <a:gd name="connsiteY287" fmla="*/ 105573 h 344988"/>
                <a:gd name="connsiteX288" fmla="*/ 86626 w 344587"/>
                <a:gd name="connsiteY288" fmla="*/ 105114 h 344988"/>
                <a:gd name="connsiteX289" fmla="*/ 89793 w 344587"/>
                <a:gd name="connsiteY289" fmla="*/ 108785 h 344988"/>
                <a:gd name="connsiteX290" fmla="*/ 90831 w 344587"/>
                <a:gd name="connsiteY290" fmla="*/ 104061 h 344988"/>
                <a:gd name="connsiteX291" fmla="*/ 95363 w 344587"/>
                <a:gd name="connsiteY291" fmla="*/ 102225 h 344988"/>
                <a:gd name="connsiteX292" fmla="*/ 91131 w 344587"/>
                <a:gd name="connsiteY292" fmla="*/ 99795 h 344988"/>
                <a:gd name="connsiteX293" fmla="*/ 239015 w 344587"/>
                <a:gd name="connsiteY293" fmla="*/ 81940 h 344988"/>
                <a:gd name="connsiteX294" fmla="*/ 239501 w 344587"/>
                <a:gd name="connsiteY294" fmla="*/ 86827 h 344988"/>
                <a:gd name="connsiteX295" fmla="*/ 235802 w 344587"/>
                <a:gd name="connsiteY295" fmla="*/ 89993 h 344988"/>
                <a:gd name="connsiteX296" fmla="*/ 240527 w 344587"/>
                <a:gd name="connsiteY296" fmla="*/ 91031 h 344988"/>
                <a:gd name="connsiteX297" fmla="*/ 242363 w 344587"/>
                <a:gd name="connsiteY297" fmla="*/ 95563 h 344988"/>
                <a:gd name="connsiteX298" fmla="*/ 244792 w 344587"/>
                <a:gd name="connsiteY298" fmla="*/ 91331 h 344988"/>
                <a:gd name="connsiteX299" fmla="*/ 249625 w 344587"/>
                <a:gd name="connsiteY299" fmla="*/ 90976 h 344988"/>
                <a:gd name="connsiteX300" fmla="*/ 246413 w 344587"/>
                <a:gd name="connsiteY300" fmla="*/ 87318 h 344988"/>
                <a:gd name="connsiteX301" fmla="*/ 247546 w 344587"/>
                <a:gd name="connsiteY301" fmla="*/ 82568 h 344988"/>
                <a:gd name="connsiteX302" fmla="*/ 243119 w 344587"/>
                <a:gd name="connsiteY302" fmla="*/ 84533 h 344988"/>
                <a:gd name="connsiteX303" fmla="*/ 105372 w 344587"/>
                <a:gd name="connsiteY303" fmla="*/ 81940 h 344988"/>
                <a:gd name="connsiteX304" fmla="*/ 101268 w 344587"/>
                <a:gd name="connsiteY304" fmla="*/ 84533 h 344988"/>
                <a:gd name="connsiteX305" fmla="*/ 96841 w 344587"/>
                <a:gd name="connsiteY305" fmla="*/ 82568 h 344988"/>
                <a:gd name="connsiteX306" fmla="*/ 97975 w 344587"/>
                <a:gd name="connsiteY306" fmla="*/ 87318 h 344988"/>
                <a:gd name="connsiteX307" fmla="*/ 94762 w 344587"/>
                <a:gd name="connsiteY307" fmla="*/ 90976 h 344988"/>
                <a:gd name="connsiteX308" fmla="*/ 99594 w 344587"/>
                <a:gd name="connsiteY308" fmla="*/ 91331 h 344988"/>
                <a:gd name="connsiteX309" fmla="*/ 102024 w 344587"/>
                <a:gd name="connsiteY309" fmla="*/ 95563 h 344988"/>
                <a:gd name="connsiteX310" fmla="*/ 103860 w 344587"/>
                <a:gd name="connsiteY310" fmla="*/ 91031 h 344988"/>
                <a:gd name="connsiteX311" fmla="*/ 108585 w 344587"/>
                <a:gd name="connsiteY311" fmla="*/ 89993 h 344988"/>
                <a:gd name="connsiteX312" fmla="*/ 104886 w 344587"/>
                <a:gd name="connsiteY312" fmla="*/ 86827 h 344988"/>
                <a:gd name="connsiteX313" fmla="*/ 230910 w 344587"/>
                <a:gd name="connsiteY313" fmla="*/ 70720 h 344988"/>
                <a:gd name="connsiteX314" fmla="*/ 226879 w 344587"/>
                <a:gd name="connsiteY314" fmla="*/ 73474 h 344988"/>
                <a:gd name="connsiteX315" fmla="*/ 222361 w 344587"/>
                <a:gd name="connsiteY315" fmla="*/ 71629 h 344988"/>
                <a:gd name="connsiteX316" fmla="*/ 223687 w 344587"/>
                <a:gd name="connsiteY316" fmla="*/ 76393 h 344988"/>
                <a:gd name="connsiteX317" fmla="*/ 220576 w 344587"/>
                <a:gd name="connsiteY317" fmla="*/ 80193 h 344988"/>
                <a:gd name="connsiteX318" fmla="*/ 225418 w 344587"/>
                <a:gd name="connsiteY318" fmla="*/ 80386 h 344988"/>
                <a:gd name="connsiteX319" fmla="*/ 228015 w 344587"/>
                <a:gd name="connsiteY319" fmla="*/ 84544 h 344988"/>
                <a:gd name="connsiteX320" fmla="*/ 229692 w 344587"/>
                <a:gd name="connsiteY320" fmla="*/ 79918 h 344988"/>
                <a:gd name="connsiteX321" fmla="*/ 234399 w 344587"/>
                <a:gd name="connsiteY321" fmla="*/ 78706 h 344988"/>
                <a:gd name="connsiteX322" fmla="*/ 230585 w 344587"/>
                <a:gd name="connsiteY322" fmla="*/ 75650 h 344988"/>
                <a:gd name="connsiteX323" fmla="*/ 113678 w 344587"/>
                <a:gd name="connsiteY323" fmla="*/ 70720 h 344988"/>
                <a:gd name="connsiteX324" fmla="*/ 114002 w 344587"/>
                <a:gd name="connsiteY324" fmla="*/ 75650 h 344988"/>
                <a:gd name="connsiteX325" fmla="*/ 110188 w 344587"/>
                <a:gd name="connsiteY325" fmla="*/ 78706 h 344988"/>
                <a:gd name="connsiteX326" fmla="*/ 114895 w 344587"/>
                <a:gd name="connsiteY326" fmla="*/ 79918 h 344988"/>
                <a:gd name="connsiteX327" fmla="*/ 116572 w 344587"/>
                <a:gd name="connsiteY327" fmla="*/ 84544 h 344988"/>
                <a:gd name="connsiteX328" fmla="*/ 119169 w 344587"/>
                <a:gd name="connsiteY328" fmla="*/ 80386 h 344988"/>
                <a:gd name="connsiteX329" fmla="*/ 124011 w 344587"/>
                <a:gd name="connsiteY329" fmla="*/ 80193 h 344988"/>
                <a:gd name="connsiteX330" fmla="*/ 120900 w 344587"/>
                <a:gd name="connsiteY330" fmla="*/ 76393 h 344988"/>
                <a:gd name="connsiteX331" fmla="*/ 122226 w 344587"/>
                <a:gd name="connsiteY331" fmla="*/ 71629 h 344988"/>
                <a:gd name="connsiteX332" fmla="*/ 117708 w 344587"/>
                <a:gd name="connsiteY332" fmla="*/ 73474 h 344988"/>
                <a:gd name="connsiteX333" fmla="*/ 212334 w 344587"/>
                <a:gd name="connsiteY333" fmla="*/ 62106 h 344988"/>
                <a:gd name="connsiteX334" fmla="*/ 208828 w 344587"/>
                <a:gd name="connsiteY334" fmla="*/ 65489 h 344988"/>
                <a:gd name="connsiteX335" fmla="*/ 204046 w 344587"/>
                <a:gd name="connsiteY335" fmla="*/ 64507 h 344988"/>
                <a:gd name="connsiteX336" fmla="*/ 206165 w 344587"/>
                <a:gd name="connsiteY336" fmla="*/ 68900 h 344988"/>
                <a:gd name="connsiteX337" fmla="*/ 203747 w 344587"/>
                <a:gd name="connsiteY337" fmla="*/ 73156 h 344988"/>
                <a:gd name="connsiteX338" fmla="*/ 208584 w 344587"/>
                <a:gd name="connsiteY338" fmla="*/ 72501 h 344988"/>
                <a:gd name="connsiteX339" fmla="*/ 211844 w 344587"/>
                <a:gd name="connsiteY339" fmla="*/ 76130 h 344988"/>
                <a:gd name="connsiteX340" fmla="*/ 212714 w 344587"/>
                <a:gd name="connsiteY340" fmla="*/ 71301 h 344988"/>
                <a:gd name="connsiteX341" fmla="*/ 217170 w 344587"/>
                <a:gd name="connsiteY341" fmla="*/ 69282 h 344988"/>
                <a:gd name="connsiteX342" fmla="*/ 212877 w 344587"/>
                <a:gd name="connsiteY342" fmla="*/ 66962 h 344988"/>
                <a:gd name="connsiteX343" fmla="*/ 132182 w 344587"/>
                <a:gd name="connsiteY343" fmla="*/ 62106 h 344988"/>
                <a:gd name="connsiteX344" fmla="*/ 131646 w 344587"/>
                <a:gd name="connsiteY344" fmla="*/ 66962 h 344988"/>
                <a:gd name="connsiteX345" fmla="*/ 127417 w 344587"/>
                <a:gd name="connsiteY345" fmla="*/ 69282 h 344988"/>
                <a:gd name="connsiteX346" fmla="*/ 131807 w 344587"/>
                <a:gd name="connsiteY346" fmla="*/ 71301 h 344988"/>
                <a:gd name="connsiteX347" fmla="*/ 132663 w 344587"/>
                <a:gd name="connsiteY347" fmla="*/ 76130 h 344988"/>
                <a:gd name="connsiteX348" fmla="*/ 135875 w 344587"/>
                <a:gd name="connsiteY348" fmla="*/ 72501 h 344988"/>
                <a:gd name="connsiteX349" fmla="*/ 140640 w 344587"/>
                <a:gd name="connsiteY349" fmla="*/ 73156 h 344988"/>
                <a:gd name="connsiteX350" fmla="*/ 138258 w 344587"/>
                <a:gd name="connsiteY350" fmla="*/ 68900 h 344988"/>
                <a:gd name="connsiteX351" fmla="*/ 140345 w 344587"/>
                <a:gd name="connsiteY351" fmla="*/ 64507 h 344988"/>
                <a:gd name="connsiteX352" fmla="*/ 135635 w 344587"/>
                <a:gd name="connsiteY352" fmla="*/ 65489 h 344988"/>
                <a:gd name="connsiteX353" fmla="*/ 192615 w 344587"/>
                <a:gd name="connsiteY353" fmla="*/ 56897 h 344988"/>
                <a:gd name="connsiteX354" fmla="*/ 189761 w 344587"/>
                <a:gd name="connsiteY354" fmla="*/ 60835 h 344988"/>
                <a:gd name="connsiteX355" fmla="*/ 184915 w 344587"/>
                <a:gd name="connsiteY355" fmla="*/ 60672 h 344988"/>
                <a:gd name="connsiteX356" fmla="*/ 187742 w 344587"/>
                <a:gd name="connsiteY356" fmla="*/ 64637 h 344988"/>
                <a:gd name="connsiteX357" fmla="*/ 186127 w 344587"/>
                <a:gd name="connsiteY357" fmla="*/ 69227 h 344988"/>
                <a:gd name="connsiteX358" fmla="*/ 190704 w 344587"/>
                <a:gd name="connsiteY358" fmla="*/ 67733 h 344988"/>
                <a:gd name="connsiteX359" fmla="*/ 194527 w 344587"/>
                <a:gd name="connsiteY359" fmla="*/ 70720 h 344988"/>
                <a:gd name="connsiteX360" fmla="*/ 194554 w 344587"/>
                <a:gd name="connsiteY360" fmla="*/ 65832 h 344988"/>
                <a:gd name="connsiteX361" fmla="*/ 198538 w 344587"/>
                <a:gd name="connsiteY361" fmla="*/ 63089 h 344988"/>
                <a:gd name="connsiteX362" fmla="*/ 193961 w 344587"/>
                <a:gd name="connsiteY362" fmla="*/ 61568 h 344988"/>
                <a:gd name="connsiteX363" fmla="*/ 151859 w 344587"/>
                <a:gd name="connsiteY363" fmla="*/ 56897 h 344988"/>
                <a:gd name="connsiteX364" fmla="*/ 150493 w 344587"/>
                <a:gd name="connsiteY364" fmla="*/ 61568 h 344988"/>
                <a:gd name="connsiteX365" fmla="*/ 145849 w 344587"/>
                <a:gd name="connsiteY365" fmla="*/ 63089 h 344988"/>
                <a:gd name="connsiteX366" fmla="*/ 149892 w 344587"/>
                <a:gd name="connsiteY366" fmla="*/ 65832 h 344988"/>
                <a:gd name="connsiteX367" fmla="*/ 149919 w 344587"/>
                <a:gd name="connsiteY367" fmla="*/ 70720 h 344988"/>
                <a:gd name="connsiteX368" fmla="*/ 153798 w 344587"/>
                <a:gd name="connsiteY368" fmla="*/ 67733 h 344988"/>
                <a:gd name="connsiteX369" fmla="*/ 158443 w 344587"/>
                <a:gd name="connsiteY369" fmla="*/ 69227 h 344988"/>
                <a:gd name="connsiteX370" fmla="*/ 156804 w 344587"/>
                <a:gd name="connsiteY370" fmla="*/ 64637 h 344988"/>
                <a:gd name="connsiteX371" fmla="*/ 159672 w 344587"/>
                <a:gd name="connsiteY371" fmla="*/ 60672 h 344988"/>
                <a:gd name="connsiteX372" fmla="*/ 154755 w 344587"/>
                <a:gd name="connsiteY372" fmla="*/ 60835 h 344988"/>
                <a:gd name="connsiteX373" fmla="*/ 172307 w 344587"/>
                <a:gd name="connsiteY373" fmla="*/ 55094 h 344988"/>
                <a:gd name="connsiteX374" fmla="*/ 170121 w 344587"/>
                <a:gd name="connsiteY374" fmla="*/ 59447 h 344988"/>
                <a:gd name="connsiteX375" fmla="*/ 165282 w 344587"/>
                <a:gd name="connsiteY375" fmla="*/ 60150 h 344988"/>
                <a:gd name="connsiteX376" fmla="*/ 168781 w 344587"/>
                <a:gd name="connsiteY376" fmla="*/ 63530 h 344988"/>
                <a:gd name="connsiteX377" fmla="*/ 167961 w 344587"/>
                <a:gd name="connsiteY377" fmla="*/ 68316 h 344988"/>
                <a:gd name="connsiteX378" fmla="*/ 172307 w 344587"/>
                <a:gd name="connsiteY378" fmla="*/ 66045 h 344988"/>
                <a:gd name="connsiteX379" fmla="*/ 176627 w 344587"/>
                <a:gd name="connsiteY379" fmla="*/ 68316 h 344988"/>
                <a:gd name="connsiteX380" fmla="*/ 175806 w 344587"/>
                <a:gd name="connsiteY380" fmla="*/ 63530 h 344988"/>
                <a:gd name="connsiteX381" fmla="*/ 179306 w 344587"/>
                <a:gd name="connsiteY381" fmla="*/ 60150 h 344988"/>
                <a:gd name="connsiteX382" fmla="*/ 174467 w 344587"/>
                <a:gd name="connsiteY382" fmla="*/ 59447 h 344988"/>
                <a:gd name="connsiteX383" fmla="*/ 171615 w 344587"/>
                <a:gd name="connsiteY383" fmla="*/ 48293 h 344988"/>
                <a:gd name="connsiteX384" fmla="*/ 293719 w 344587"/>
                <a:gd name="connsiteY384" fmla="*/ 170398 h 344988"/>
                <a:gd name="connsiteX385" fmla="*/ 171615 w 344587"/>
                <a:gd name="connsiteY385" fmla="*/ 292503 h 344988"/>
                <a:gd name="connsiteX386" fmla="*/ 49510 w 344587"/>
                <a:gd name="connsiteY386" fmla="*/ 170398 h 344988"/>
                <a:gd name="connsiteX387" fmla="*/ 171615 w 344587"/>
                <a:gd name="connsiteY387" fmla="*/ 48293 h 344988"/>
                <a:gd name="connsiteX388" fmla="*/ 171615 w 344587"/>
                <a:gd name="connsiteY388" fmla="*/ 34348 h 344988"/>
                <a:gd name="connsiteX389" fmla="*/ 35565 w 344587"/>
                <a:gd name="connsiteY389" fmla="*/ 170398 h 344988"/>
                <a:gd name="connsiteX390" fmla="*/ 171615 w 344587"/>
                <a:gd name="connsiteY390" fmla="*/ 306448 h 344988"/>
                <a:gd name="connsiteX391" fmla="*/ 307665 w 344587"/>
                <a:gd name="connsiteY391" fmla="*/ 170398 h 344988"/>
                <a:gd name="connsiteX392" fmla="*/ 171615 w 344587"/>
                <a:gd name="connsiteY392" fmla="*/ 34348 h 344988"/>
                <a:gd name="connsiteX393" fmla="*/ 172307 w 344587"/>
                <a:gd name="connsiteY393" fmla="*/ 0 h 344988"/>
                <a:gd name="connsiteX394" fmla="*/ 212700 w 344587"/>
                <a:gd name="connsiteY394" fmla="*/ 21468 h 344988"/>
                <a:gd name="connsiteX395" fmla="*/ 258434 w 344587"/>
                <a:gd name="connsiteY395" fmla="*/ 23124 h 344988"/>
                <a:gd name="connsiteX396" fmla="*/ 282724 w 344587"/>
                <a:gd name="connsiteY396" fmla="*/ 61936 h 344988"/>
                <a:gd name="connsiteX397" fmla="*/ 321490 w 344587"/>
                <a:gd name="connsiteY397" fmla="*/ 86254 h 344988"/>
                <a:gd name="connsiteX398" fmla="*/ 323144 w 344587"/>
                <a:gd name="connsiteY398" fmla="*/ 132040 h 344988"/>
                <a:gd name="connsiteX399" fmla="*/ 344587 w 344587"/>
                <a:gd name="connsiteY399" fmla="*/ 172508 h 344988"/>
                <a:gd name="connsiteX400" fmla="*/ 323144 w 344587"/>
                <a:gd name="connsiteY400" fmla="*/ 212975 h 344988"/>
                <a:gd name="connsiteX401" fmla="*/ 321490 w 344587"/>
                <a:gd name="connsiteY401" fmla="*/ 258734 h 344988"/>
                <a:gd name="connsiteX402" fmla="*/ 282724 w 344587"/>
                <a:gd name="connsiteY402" fmla="*/ 283052 h 344988"/>
                <a:gd name="connsiteX403" fmla="*/ 258434 w 344587"/>
                <a:gd name="connsiteY403" fmla="*/ 321891 h 344988"/>
                <a:gd name="connsiteX404" fmla="*/ 212700 w 344587"/>
                <a:gd name="connsiteY404" fmla="*/ 323520 h 344988"/>
                <a:gd name="connsiteX405" fmla="*/ 172307 w 344587"/>
                <a:gd name="connsiteY405" fmla="*/ 344988 h 344988"/>
                <a:gd name="connsiteX406" fmla="*/ 131887 w 344587"/>
                <a:gd name="connsiteY406" fmla="*/ 323520 h 344988"/>
                <a:gd name="connsiteX407" fmla="*/ 86154 w 344587"/>
                <a:gd name="connsiteY407" fmla="*/ 321891 h 344988"/>
                <a:gd name="connsiteX408" fmla="*/ 61864 w 344587"/>
                <a:gd name="connsiteY408" fmla="*/ 283052 h 344988"/>
                <a:gd name="connsiteX409" fmla="*/ 23097 w 344587"/>
                <a:gd name="connsiteY409" fmla="*/ 258734 h 344988"/>
                <a:gd name="connsiteX410" fmla="*/ 21444 w 344587"/>
                <a:gd name="connsiteY410" fmla="*/ 212975 h 344988"/>
                <a:gd name="connsiteX411" fmla="*/ 0 w 344587"/>
                <a:gd name="connsiteY411" fmla="*/ 172508 h 344988"/>
                <a:gd name="connsiteX412" fmla="*/ 21444 w 344587"/>
                <a:gd name="connsiteY412" fmla="*/ 132040 h 344988"/>
                <a:gd name="connsiteX413" fmla="*/ 23097 w 344587"/>
                <a:gd name="connsiteY413" fmla="*/ 86254 h 344988"/>
                <a:gd name="connsiteX414" fmla="*/ 61864 w 344587"/>
                <a:gd name="connsiteY414" fmla="*/ 61936 h 344988"/>
                <a:gd name="connsiteX415" fmla="*/ 86154 w 344587"/>
                <a:gd name="connsiteY415" fmla="*/ 23124 h 344988"/>
                <a:gd name="connsiteX416" fmla="*/ 131887 w 344587"/>
                <a:gd name="connsiteY416" fmla="*/ 21468 h 344988"/>
                <a:gd name="connsiteX417" fmla="*/ 172307 w 344587"/>
                <a:gd name="connsiteY417" fmla="*/ 0 h 34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44587" h="344988">
                  <a:moveTo>
                    <a:pt x="167961" y="276672"/>
                  </a:moveTo>
                  <a:lnTo>
                    <a:pt x="168781" y="281441"/>
                  </a:lnTo>
                  <a:lnTo>
                    <a:pt x="165282" y="284827"/>
                  </a:lnTo>
                  <a:lnTo>
                    <a:pt x="170121" y="285532"/>
                  </a:lnTo>
                  <a:lnTo>
                    <a:pt x="172307" y="289894"/>
                  </a:lnTo>
                  <a:lnTo>
                    <a:pt x="174467" y="285532"/>
                  </a:lnTo>
                  <a:lnTo>
                    <a:pt x="179306" y="284827"/>
                  </a:lnTo>
                  <a:lnTo>
                    <a:pt x="175806" y="281441"/>
                  </a:lnTo>
                  <a:lnTo>
                    <a:pt x="176627" y="276672"/>
                  </a:lnTo>
                  <a:lnTo>
                    <a:pt x="172307" y="278921"/>
                  </a:lnTo>
                  <a:close/>
                  <a:moveTo>
                    <a:pt x="194527" y="274468"/>
                  </a:moveTo>
                  <a:lnTo>
                    <a:pt x="190704" y="277391"/>
                  </a:lnTo>
                  <a:lnTo>
                    <a:pt x="186127" y="275943"/>
                  </a:lnTo>
                  <a:lnTo>
                    <a:pt x="187742" y="280475"/>
                  </a:lnTo>
                  <a:lnTo>
                    <a:pt x="184915" y="284363"/>
                  </a:lnTo>
                  <a:lnTo>
                    <a:pt x="189761" y="284229"/>
                  </a:lnTo>
                  <a:lnTo>
                    <a:pt x="192615" y="288091"/>
                  </a:lnTo>
                  <a:lnTo>
                    <a:pt x="193961" y="283479"/>
                  </a:lnTo>
                  <a:lnTo>
                    <a:pt x="198538" y="281977"/>
                  </a:lnTo>
                  <a:lnTo>
                    <a:pt x="194554" y="279268"/>
                  </a:lnTo>
                  <a:close/>
                  <a:moveTo>
                    <a:pt x="149919" y="274468"/>
                  </a:moveTo>
                  <a:lnTo>
                    <a:pt x="149892" y="279268"/>
                  </a:lnTo>
                  <a:lnTo>
                    <a:pt x="145849" y="281977"/>
                  </a:lnTo>
                  <a:lnTo>
                    <a:pt x="150493" y="283479"/>
                  </a:lnTo>
                  <a:lnTo>
                    <a:pt x="151859" y="288091"/>
                  </a:lnTo>
                  <a:lnTo>
                    <a:pt x="154755" y="284229"/>
                  </a:lnTo>
                  <a:lnTo>
                    <a:pt x="159672" y="284363"/>
                  </a:lnTo>
                  <a:lnTo>
                    <a:pt x="156804" y="280475"/>
                  </a:lnTo>
                  <a:lnTo>
                    <a:pt x="158443" y="275943"/>
                  </a:lnTo>
                  <a:lnTo>
                    <a:pt x="153798" y="277391"/>
                  </a:lnTo>
                  <a:close/>
                  <a:moveTo>
                    <a:pt x="211844" y="268858"/>
                  </a:moveTo>
                  <a:lnTo>
                    <a:pt x="208584" y="272467"/>
                  </a:lnTo>
                  <a:lnTo>
                    <a:pt x="203747" y="271811"/>
                  </a:lnTo>
                  <a:lnTo>
                    <a:pt x="206165" y="276075"/>
                  </a:lnTo>
                  <a:lnTo>
                    <a:pt x="204046" y="280504"/>
                  </a:lnTo>
                  <a:lnTo>
                    <a:pt x="208828" y="279492"/>
                  </a:lnTo>
                  <a:lnTo>
                    <a:pt x="212334" y="282882"/>
                  </a:lnTo>
                  <a:lnTo>
                    <a:pt x="212877" y="278016"/>
                  </a:lnTo>
                  <a:lnTo>
                    <a:pt x="217170" y="275693"/>
                  </a:lnTo>
                  <a:lnTo>
                    <a:pt x="212714" y="273670"/>
                  </a:lnTo>
                  <a:close/>
                  <a:moveTo>
                    <a:pt x="132663" y="268858"/>
                  </a:moveTo>
                  <a:lnTo>
                    <a:pt x="131807" y="273670"/>
                  </a:lnTo>
                  <a:lnTo>
                    <a:pt x="127417" y="275693"/>
                  </a:lnTo>
                  <a:lnTo>
                    <a:pt x="131646" y="278016"/>
                  </a:lnTo>
                  <a:lnTo>
                    <a:pt x="132182" y="282882"/>
                  </a:lnTo>
                  <a:lnTo>
                    <a:pt x="135635" y="279492"/>
                  </a:lnTo>
                  <a:lnTo>
                    <a:pt x="140345" y="280504"/>
                  </a:lnTo>
                  <a:lnTo>
                    <a:pt x="138258" y="276075"/>
                  </a:lnTo>
                  <a:lnTo>
                    <a:pt x="140640" y="271811"/>
                  </a:lnTo>
                  <a:lnTo>
                    <a:pt x="135875" y="272467"/>
                  </a:lnTo>
                  <a:close/>
                  <a:moveTo>
                    <a:pt x="228015" y="260644"/>
                  </a:moveTo>
                  <a:lnTo>
                    <a:pt x="225418" y="264769"/>
                  </a:lnTo>
                  <a:lnTo>
                    <a:pt x="220576" y="264959"/>
                  </a:lnTo>
                  <a:lnTo>
                    <a:pt x="223687" y="268704"/>
                  </a:lnTo>
                  <a:lnTo>
                    <a:pt x="222361" y="273372"/>
                  </a:lnTo>
                  <a:lnTo>
                    <a:pt x="226879" y="271581"/>
                  </a:lnTo>
                  <a:lnTo>
                    <a:pt x="230910" y="274268"/>
                  </a:lnTo>
                  <a:lnTo>
                    <a:pt x="230585" y="269410"/>
                  </a:lnTo>
                  <a:lnTo>
                    <a:pt x="234399" y="266398"/>
                  </a:lnTo>
                  <a:lnTo>
                    <a:pt x="229692" y="265204"/>
                  </a:lnTo>
                  <a:close/>
                  <a:moveTo>
                    <a:pt x="116572" y="260644"/>
                  </a:moveTo>
                  <a:lnTo>
                    <a:pt x="114895" y="265204"/>
                  </a:lnTo>
                  <a:lnTo>
                    <a:pt x="110188" y="266398"/>
                  </a:lnTo>
                  <a:lnTo>
                    <a:pt x="114002" y="269410"/>
                  </a:lnTo>
                  <a:lnTo>
                    <a:pt x="113678" y="274268"/>
                  </a:lnTo>
                  <a:lnTo>
                    <a:pt x="117708" y="271581"/>
                  </a:lnTo>
                  <a:lnTo>
                    <a:pt x="122226" y="273372"/>
                  </a:lnTo>
                  <a:lnTo>
                    <a:pt x="120900" y="268704"/>
                  </a:lnTo>
                  <a:lnTo>
                    <a:pt x="124011" y="264959"/>
                  </a:lnTo>
                  <a:lnTo>
                    <a:pt x="119169" y="264769"/>
                  </a:lnTo>
                  <a:close/>
                  <a:moveTo>
                    <a:pt x="242363" y="249625"/>
                  </a:moveTo>
                  <a:lnTo>
                    <a:pt x="240527" y="254100"/>
                  </a:lnTo>
                  <a:lnTo>
                    <a:pt x="235802" y="255124"/>
                  </a:lnTo>
                  <a:lnTo>
                    <a:pt x="239501" y="258251"/>
                  </a:lnTo>
                  <a:lnTo>
                    <a:pt x="239015" y="263048"/>
                  </a:lnTo>
                  <a:lnTo>
                    <a:pt x="243119" y="260515"/>
                  </a:lnTo>
                  <a:lnTo>
                    <a:pt x="247546" y="262455"/>
                  </a:lnTo>
                  <a:lnTo>
                    <a:pt x="246413" y="257766"/>
                  </a:lnTo>
                  <a:lnTo>
                    <a:pt x="249625" y="254154"/>
                  </a:lnTo>
                  <a:lnTo>
                    <a:pt x="244792" y="253776"/>
                  </a:lnTo>
                  <a:close/>
                  <a:moveTo>
                    <a:pt x="102024" y="249625"/>
                  </a:moveTo>
                  <a:lnTo>
                    <a:pt x="99594" y="253776"/>
                  </a:lnTo>
                  <a:lnTo>
                    <a:pt x="94762" y="254154"/>
                  </a:lnTo>
                  <a:lnTo>
                    <a:pt x="97975" y="257766"/>
                  </a:lnTo>
                  <a:lnTo>
                    <a:pt x="96841" y="262455"/>
                  </a:lnTo>
                  <a:lnTo>
                    <a:pt x="101268" y="260515"/>
                  </a:lnTo>
                  <a:lnTo>
                    <a:pt x="105372" y="263048"/>
                  </a:lnTo>
                  <a:lnTo>
                    <a:pt x="104886" y="258251"/>
                  </a:lnTo>
                  <a:lnTo>
                    <a:pt x="108585" y="255124"/>
                  </a:lnTo>
                  <a:lnTo>
                    <a:pt x="103860" y="254100"/>
                  </a:lnTo>
                  <a:close/>
                  <a:moveTo>
                    <a:pt x="254712" y="236203"/>
                  </a:moveTo>
                  <a:lnTo>
                    <a:pt x="253690" y="240928"/>
                  </a:lnTo>
                  <a:lnTo>
                    <a:pt x="249225" y="242764"/>
                  </a:lnTo>
                  <a:lnTo>
                    <a:pt x="253394" y="245220"/>
                  </a:lnTo>
                  <a:lnTo>
                    <a:pt x="253771" y="250026"/>
                  </a:lnTo>
                  <a:lnTo>
                    <a:pt x="257348" y="246813"/>
                  </a:lnTo>
                  <a:lnTo>
                    <a:pt x="262056" y="247974"/>
                  </a:lnTo>
                  <a:lnTo>
                    <a:pt x="260119" y="243520"/>
                  </a:lnTo>
                  <a:lnTo>
                    <a:pt x="262648" y="239416"/>
                  </a:lnTo>
                  <a:lnTo>
                    <a:pt x="257833" y="239902"/>
                  </a:lnTo>
                  <a:close/>
                  <a:moveTo>
                    <a:pt x="89793" y="236203"/>
                  </a:moveTo>
                  <a:lnTo>
                    <a:pt x="86626" y="239902"/>
                  </a:lnTo>
                  <a:lnTo>
                    <a:pt x="81739" y="239416"/>
                  </a:lnTo>
                  <a:lnTo>
                    <a:pt x="84333" y="243520"/>
                  </a:lnTo>
                  <a:lnTo>
                    <a:pt x="82340" y="247974"/>
                  </a:lnTo>
                  <a:lnTo>
                    <a:pt x="87118" y="246813"/>
                  </a:lnTo>
                  <a:lnTo>
                    <a:pt x="90749" y="250026"/>
                  </a:lnTo>
                  <a:lnTo>
                    <a:pt x="91131" y="245220"/>
                  </a:lnTo>
                  <a:lnTo>
                    <a:pt x="95363" y="242764"/>
                  </a:lnTo>
                  <a:lnTo>
                    <a:pt x="90831" y="240928"/>
                  </a:lnTo>
                  <a:close/>
                  <a:moveTo>
                    <a:pt x="264558" y="220977"/>
                  </a:moveTo>
                  <a:lnTo>
                    <a:pt x="264341" y="225819"/>
                  </a:lnTo>
                  <a:lnTo>
                    <a:pt x="260243" y="228416"/>
                  </a:lnTo>
                  <a:lnTo>
                    <a:pt x="264803" y="230093"/>
                  </a:lnTo>
                  <a:lnTo>
                    <a:pt x="265997" y="234800"/>
                  </a:lnTo>
                  <a:lnTo>
                    <a:pt x="269009" y="230986"/>
                  </a:lnTo>
                  <a:lnTo>
                    <a:pt x="273867" y="231311"/>
                  </a:lnTo>
                  <a:lnTo>
                    <a:pt x="271180" y="227280"/>
                  </a:lnTo>
                  <a:lnTo>
                    <a:pt x="272971" y="222762"/>
                  </a:lnTo>
                  <a:lnTo>
                    <a:pt x="268276" y="224088"/>
                  </a:lnTo>
                  <a:close/>
                  <a:moveTo>
                    <a:pt x="80029" y="220977"/>
                  </a:moveTo>
                  <a:lnTo>
                    <a:pt x="76311" y="224088"/>
                  </a:lnTo>
                  <a:lnTo>
                    <a:pt x="71616" y="222762"/>
                  </a:lnTo>
                  <a:lnTo>
                    <a:pt x="73407" y="227280"/>
                  </a:lnTo>
                  <a:lnTo>
                    <a:pt x="70721" y="231311"/>
                  </a:lnTo>
                  <a:lnTo>
                    <a:pt x="75578" y="230986"/>
                  </a:lnTo>
                  <a:lnTo>
                    <a:pt x="78590" y="234800"/>
                  </a:lnTo>
                  <a:lnTo>
                    <a:pt x="79785" y="230093"/>
                  </a:lnTo>
                  <a:lnTo>
                    <a:pt x="84344" y="228416"/>
                  </a:lnTo>
                  <a:lnTo>
                    <a:pt x="80246" y="225819"/>
                  </a:lnTo>
                  <a:close/>
                  <a:moveTo>
                    <a:pt x="271410" y="204148"/>
                  </a:moveTo>
                  <a:lnTo>
                    <a:pt x="272066" y="208985"/>
                  </a:lnTo>
                  <a:lnTo>
                    <a:pt x="268457" y="212245"/>
                  </a:lnTo>
                  <a:lnTo>
                    <a:pt x="273269" y="213115"/>
                  </a:lnTo>
                  <a:lnTo>
                    <a:pt x="275292" y="217571"/>
                  </a:lnTo>
                  <a:lnTo>
                    <a:pt x="277615" y="213278"/>
                  </a:lnTo>
                  <a:lnTo>
                    <a:pt x="282481" y="212734"/>
                  </a:lnTo>
                  <a:lnTo>
                    <a:pt x="279091" y="209229"/>
                  </a:lnTo>
                  <a:lnTo>
                    <a:pt x="280076" y="204447"/>
                  </a:lnTo>
                  <a:lnTo>
                    <a:pt x="275674" y="206566"/>
                  </a:lnTo>
                  <a:close/>
                  <a:moveTo>
                    <a:pt x="73019" y="204148"/>
                  </a:moveTo>
                  <a:lnTo>
                    <a:pt x="68816" y="206566"/>
                  </a:lnTo>
                  <a:lnTo>
                    <a:pt x="64477" y="204447"/>
                  </a:lnTo>
                  <a:lnTo>
                    <a:pt x="65447" y="209229"/>
                  </a:lnTo>
                  <a:lnTo>
                    <a:pt x="62106" y="212734"/>
                  </a:lnTo>
                  <a:lnTo>
                    <a:pt x="66903" y="213278"/>
                  </a:lnTo>
                  <a:lnTo>
                    <a:pt x="69193" y="217571"/>
                  </a:lnTo>
                  <a:lnTo>
                    <a:pt x="71187" y="213115"/>
                  </a:lnTo>
                  <a:lnTo>
                    <a:pt x="75929" y="212245"/>
                  </a:lnTo>
                  <a:lnTo>
                    <a:pt x="72373" y="208985"/>
                  </a:lnTo>
                  <a:close/>
                  <a:moveTo>
                    <a:pt x="283915" y="185116"/>
                  </a:moveTo>
                  <a:lnTo>
                    <a:pt x="279950" y="187963"/>
                  </a:lnTo>
                  <a:lnTo>
                    <a:pt x="275388" y="186320"/>
                  </a:lnTo>
                  <a:lnTo>
                    <a:pt x="276854" y="191001"/>
                  </a:lnTo>
                  <a:lnTo>
                    <a:pt x="273867" y="194861"/>
                  </a:lnTo>
                  <a:lnTo>
                    <a:pt x="278755" y="194888"/>
                  </a:lnTo>
                  <a:lnTo>
                    <a:pt x="281498" y="198939"/>
                  </a:lnTo>
                  <a:lnTo>
                    <a:pt x="283019" y="194286"/>
                  </a:lnTo>
                  <a:lnTo>
                    <a:pt x="287690" y="192917"/>
                  </a:lnTo>
                  <a:lnTo>
                    <a:pt x="283780" y="190015"/>
                  </a:lnTo>
                  <a:close/>
                  <a:moveTo>
                    <a:pt x="60472" y="185116"/>
                  </a:moveTo>
                  <a:lnTo>
                    <a:pt x="60608" y="190015"/>
                  </a:lnTo>
                  <a:lnTo>
                    <a:pt x="56697" y="192917"/>
                  </a:lnTo>
                  <a:lnTo>
                    <a:pt x="61368" y="194286"/>
                  </a:lnTo>
                  <a:lnTo>
                    <a:pt x="62889" y="198939"/>
                  </a:lnTo>
                  <a:lnTo>
                    <a:pt x="65632" y="194888"/>
                  </a:lnTo>
                  <a:lnTo>
                    <a:pt x="70520" y="194861"/>
                  </a:lnTo>
                  <a:lnTo>
                    <a:pt x="67533" y="191001"/>
                  </a:lnTo>
                  <a:lnTo>
                    <a:pt x="68999" y="186320"/>
                  </a:lnTo>
                  <a:lnTo>
                    <a:pt x="64437" y="187963"/>
                  </a:lnTo>
                  <a:close/>
                  <a:moveTo>
                    <a:pt x="284437" y="165482"/>
                  </a:moveTo>
                  <a:lnTo>
                    <a:pt x="281057" y="168981"/>
                  </a:lnTo>
                  <a:lnTo>
                    <a:pt x="276271" y="168161"/>
                  </a:lnTo>
                  <a:lnTo>
                    <a:pt x="278542" y="172508"/>
                  </a:lnTo>
                  <a:lnTo>
                    <a:pt x="276271" y="176827"/>
                  </a:lnTo>
                  <a:lnTo>
                    <a:pt x="281057" y="176007"/>
                  </a:lnTo>
                  <a:lnTo>
                    <a:pt x="284437" y="179506"/>
                  </a:lnTo>
                  <a:lnTo>
                    <a:pt x="285140" y="174667"/>
                  </a:lnTo>
                  <a:lnTo>
                    <a:pt x="289493" y="172508"/>
                  </a:lnTo>
                  <a:lnTo>
                    <a:pt x="285140" y="170321"/>
                  </a:lnTo>
                  <a:close/>
                  <a:moveTo>
                    <a:pt x="60027" y="165482"/>
                  </a:moveTo>
                  <a:lnTo>
                    <a:pt x="59313" y="170321"/>
                  </a:lnTo>
                  <a:lnTo>
                    <a:pt x="54894" y="172508"/>
                  </a:lnTo>
                  <a:lnTo>
                    <a:pt x="59313" y="174667"/>
                  </a:lnTo>
                  <a:lnTo>
                    <a:pt x="60027" y="179506"/>
                  </a:lnTo>
                  <a:lnTo>
                    <a:pt x="63458" y="176007"/>
                  </a:lnTo>
                  <a:lnTo>
                    <a:pt x="68317" y="176827"/>
                  </a:lnTo>
                  <a:lnTo>
                    <a:pt x="66011" y="172508"/>
                  </a:lnTo>
                  <a:lnTo>
                    <a:pt x="68317" y="168161"/>
                  </a:lnTo>
                  <a:lnTo>
                    <a:pt x="63458" y="168981"/>
                  </a:lnTo>
                  <a:close/>
                  <a:moveTo>
                    <a:pt x="281498" y="146049"/>
                  </a:moveTo>
                  <a:lnTo>
                    <a:pt x="278755" y="150092"/>
                  </a:lnTo>
                  <a:lnTo>
                    <a:pt x="273867" y="150120"/>
                  </a:lnTo>
                  <a:lnTo>
                    <a:pt x="276854" y="153999"/>
                  </a:lnTo>
                  <a:lnTo>
                    <a:pt x="275388" y="158670"/>
                  </a:lnTo>
                  <a:lnTo>
                    <a:pt x="279950" y="157004"/>
                  </a:lnTo>
                  <a:lnTo>
                    <a:pt x="283915" y="159872"/>
                  </a:lnTo>
                  <a:lnTo>
                    <a:pt x="283780" y="154955"/>
                  </a:lnTo>
                  <a:lnTo>
                    <a:pt x="287690" y="152059"/>
                  </a:lnTo>
                  <a:lnTo>
                    <a:pt x="283019" y="150693"/>
                  </a:lnTo>
                  <a:close/>
                  <a:moveTo>
                    <a:pt x="62889" y="146049"/>
                  </a:moveTo>
                  <a:lnTo>
                    <a:pt x="61368" y="150693"/>
                  </a:lnTo>
                  <a:lnTo>
                    <a:pt x="56697" y="152059"/>
                  </a:lnTo>
                  <a:lnTo>
                    <a:pt x="60608" y="154955"/>
                  </a:lnTo>
                  <a:lnTo>
                    <a:pt x="60472" y="159872"/>
                  </a:lnTo>
                  <a:lnTo>
                    <a:pt x="64437" y="157004"/>
                  </a:lnTo>
                  <a:lnTo>
                    <a:pt x="68999" y="158670"/>
                  </a:lnTo>
                  <a:lnTo>
                    <a:pt x="67533" y="153999"/>
                  </a:lnTo>
                  <a:lnTo>
                    <a:pt x="70520" y="150120"/>
                  </a:lnTo>
                  <a:lnTo>
                    <a:pt x="65632" y="150092"/>
                  </a:lnTo>
                  <a:close/>
                  <a:moveTo>
                    <a:pt x="275292" y="127618"/>
                  </a:moveTo>
                  <a:lnTo>
                    <a:pt x="273269" y="132007"/>
                  </a:lnTo>
                  <a:lnTo>
                    <a:pt x="268457" y="132864"/>
                  </a:lnTo>
                  <a:lnTo>
                    <a:pt x="272066" y="136103"/>
                  </a:lnTo>
                  <a:lnTo>
                    <a:pt x="271410" y="140840"/>
                  </a:lnTo>
                  <a:lnTo>
                    <a:pt x="275674" y="138458"/>
                  </a:lnTo>
                  <a:lnTo>
                    <a:pt x="280076" y="140546"/>
                  </a:lnTo>
                  <a:lnTo>
                    <a:pt x="279091" y="135862"/>
                  </a:lnTo>
                  <a:lnTo>
                    <a:pt x="282481" y="132382"/>
                  </a:lnTo>
                  <a:lnTo>
                    <a:pt x="277615" y="131847"/>
                  </a:lnTo>
                  <a:close/>
                  <a:moveTo>
                    <a:pt x="69193" y="127618"/>
                  </a:moveTo>
                  <a:lnTo>
                    <a:pt x="66903" y="131847"/>
                  </a:lnTo>
                  <a:lnTo>
                    <a:pt x="62106" y="132382"/>
                  </a:lnTo>
                  <a:lnTo>
                    <a:pt x="65447" y="135862"/>
                  </a:lnTo>
                  <a:lnTo>
                    <a:pt x="64477" y="140546"/>
                  </a:lnTo>
                  <a:lnTo>
                    <a:pt x="68816" y="138458"/>
                  </a:lnTo>
                  <a:lnTo>
                    <a:pt x="73019" y="140840"/>
                  </a:lnTo>
                  <a:lnTo>
                    <a:pt x="72373" y="136103"/>
                  </a:lnTo>
                  <a:lnTo>
                    <a:pt x="75929" y="132864"/>
                  </a:lnTo>
                  <a:lnTo>
                    <a:pt x="71187" y="132007"/>
                  </a:lnTo>
                  <a:close/>
                  <a:moveTo>
                    <a:pt x="265997" y="110188"/>
                  </a:moveTo>
                  <a:lnTo>
                    <a:pt x="264803" y="114963"/>
                  </a:lnTo>
                  <a:lnTo>
                    <a:pt x="260243" y="116665"/>
                  </a:lnTo>
                  <a:lnTo>
                    <a:pt x="264341" y="119299"/>
                  </a:lnTo>
                  <a:lnTo>
                    <a:pt x="264558" y="124212"/>
                  </a:lnTo>
                  <a:lnTo>
                    <a:pt x="268276" y="121083"/>
                  </a:lnTo>
                  <a:lnTo>
                    <a:pt x="272971" y="122401"/>
                  </a:lnTo>
                  <a:lnTo>
                    <a:pt x="271180" y="117845"/>
                  </a:lnTo>
                  <a:lnTo>
                    <a:pt x="273867" y="113756"/>
                  </a:lnTo>
                  <a:lnTo>
                    <a:pt x="269009" y="114057"/>
                  </a:lnTo>
                  <a:close/>
                  <a:moveTo>
                    <a:pt x="78590" y="110188"/>
                  </a:moveTo>
                  <a:lnTo>
                    <a:pt x="75578" y="114057"/>
                  </a:lnTo>
                  <a:lnTo>
                    <a:pt x="70721" y="113756"/>
                  </a:lnTo>
                  <a:lnTo>
                    <a:pt x="73407" y="117845"/>
                  </a:lnTo>
                  <a:lnTo>
                    <a:pt x="71616" y="122401"/>
                  </a:lnTo>
                  <a:lnTo>
                    <a:pt x="76311" y="121083"/>
                  </a:lnTo>
                  <a:lnTo>
                    <a:pt x="80029" y="124212"/>
                  </a:lnTo>
                  <a:lnTo>
                    <a:pt x="80246" y="119299"/>
                  </a:lnTo>
                  <a:lnTo>
                    <a:pt x="84344" y="116665"/>
                  </a:lnTo>
                  <a:lnTo>
                    <a:pt x="79785" y="114963"/>
                  </a:lnTo>
                  <a:close/>
                  <a:moveTo>
                    <a:pt x="172293" y="107507"/>
                  </a:moveTo>
                  <a:cubicBezTo>
                    <a:pt x="169195" y="107507"/>
                    <a:pt x="166097" y="109253"/>
                    <a:pt x="164742" y="112163"/>
                  </a:cubicBezTo>
                  <a:lnTo>
                    <a:pt x="148477" y="145335"/>
                  </a:lnTo>
                  <a:lnTo>
                    <a:pt x="111881" y="150766"/>
                  </a:lnTo>
                  <a:cubicBezTo>
                    <a:pt x="108589" y="151154"/>
                    <a:pt x="106072" y="153482"/>
                    <a:pt x="104910" y="156392"/>
                  </a:cubicBezTo>
                  <a:cubicBezTo>
                    <a:pt x="103942" y="159496"/>
                    <a:pt x="104910" y="162988"/>
                    <a:pt x="107234" y="165121"/>
                  </a:cubicBezTo>
                  <a:lnTo>
                    <a:pt x="133567" y="190922"/>
                  </a:lnTo>
                  <a:lnTo>
                    <a:pt x="127371" y="227392"/>
                  </a:lnTo>
                  <a:cubicBezTo>
                    <a:pt x="126790" y="230689"/>
                    <a:pt x="128146" y="233987"/>
                    <a:pt x="130663" y="235733"/>
                  </a:cubicBezTo>
                  <a:cubicBezTo>
                    <a:pt x="132212" y="236897"/>
                    <a:pt x="133955" y="237479"/>
                    <a:pt x="135697" y="237479"/>
                  </a:cubicBezTo>
                  <a:cubicBezTo>
                    <a:pt x="137053" y="237479"/>
                    <a:pt x="138408" y="237091"/>
                    <a:pt x="139570" y="236509"/>
                  </a:cubicBezTo>
                  <a:lnTo>
                    <a:pt x="172293" y="219244"/>
                  </a:lnTo>
                  <a:lnTo>
                    <a:pt x="205016" y="236509"/>
                  </a:lnTo>
                  <a:cubicBezTo>
                    <a:pt x="206372" y="237091"/>
                    <a:pt x="207727" y="237479"/>
                    <a:pt x="209083" y="237479"/>
                  </a:cubicBezTo>
                  <a:cubicBezTo>
                    <a:pt x="210825" y="237479"/>
                    <a:pt x="212568" y="236897"/>
                    <a:pt x="213923" y="235733"/>
                  </a:cubicBezTo>
                  <a:cubicBezTo>
                    <a:pt x="216634" y="233987"/>
                    <a:pt x="217990" y="230689"/>
                    <a:pt x="217409" y="227392"/>
                  </a:cubicBezTo>
                  <a:lnTo>
                    <a:pt x="211213" y="190922"/>
                  </a:lnTo>
                  <a:lnTo>
                    <a:pt x="237546" y="165121"/>
                  </a:lnTo>
                  <a:cubicBezTo>
                    <a:pt x="239870" y="162988"/>
                    <a:pt x="240644" y="159496"/>
                    <a:pt x="239676" y="156392"/>
                  </a:cubicBezTo>
                  <a:cubicBezTo>
                    <a:pt x="238708" y="153482"/>
                    <a:pt x="235997" y="151154"/>
                    <a:pt x="232899" y="150766"/>
                  </a:cubicBezTo>
                  <a:lnTo>
                    <a:pt x="196303" y="145335"/>
                  </a:lnTo>
                  <a:lnTo>
                    <a:pt x="180038" y="112163"/>
                  </a:lnTo>
                  <a:cubicBezTo>
                    <a:pt x="178489" y="109253"/>
                    <a:pt x="175585" y="107507"/>
                    <a:pt x="172293" y="107507"/>
                  </a:cubicBezTo>
                  <a:close/>
                  <a:moveTo>
                    <a:pt x="253771" y="94962"/>
                  </a:moveTo>
                  <a:lnTo>
                    <a:pt x="253394" y="99795"/>
                  </a:lnTo>
                  <a:lnTo>
                    <a:pt x="249225" y="102225"/>
                  </a:lnTo>
                  <a:lnTo>
                    <a:pt x="253690" y="104061"/>
                  </a:lnTo>
                  <a:lnTo>
                    <a:pt x="254712" y="108785"/>
                  </a:lnTo>
                  <a:lnTo>
                    <a:pt x="257833" y="105114"/>
                  </a:lnTo>
                  <a:lnTo>
                    <a:pt x="262648" y="105573"/>
                  </a:lnTo>
                  <a:lnTo>
                    <a:pt x="260119" y="101469"/>
                  </a:lnTo>
                  <a:lnTo>
                    <a:pt x="262056" y="97041"/>
                  </a:lnTo>
                  <a:lnTo>
                    <a:pt x="257348" y="98175"/>
                  </a:lnTo>
                  <a:close/>
                  <a:moveTo>
                    <a:pt x="90749" y="94962"/>
                  </a:moveTo>
                  <a:lnTo>
                    <a:pt x="87118" y="98175"/>
                  </a:lnTo>
                  <a:lnTo>
                    <a:pt x="82340" y="97041"/>
                  </a:lnTo>
                  <a:lnTo>
                    <a:pt x="84333" y="101469"/>
                  </a:lnTo>
                  <a:lnTo>
                    <a:pt x="81739" y="105573"/>
                  </a:lnTo>
                  <a:lnTo>
                    <a:pt x="86626" y="105114"/>
                  </a:lnTo>
                  <a:lnTo>
                    <a:pt x="89793" y="108785"/>
                  </a:lnTo>
                  <a:lnTo>
                    <a:pt x="90831" y="104061"/>
                  </a:lnTo>
                  <a:lnTo>
                    <a:pt x="95363" y="102225"/>
                  </a:lnTo>
                  <a:lnTo>
                    <a:pt x="91131" y="99795"/>
                  </a:lnTo>
                  <a:close/>
                  <a:moveTo>
                    <a:pt x="239015" y="81940"/>
                  </a:moveTo>
                  <a:lnTo>
                    <a:pt x="239501" y="86827"/>
                  </a:lnTo>
                  <a:lnTo>
                    <a:pt x="235802" y="89993"/>
                  </a:lnTo>
                  <a:lnTo>
                    <a:pt x="240527" y="91031"/>
                  </a:lnTo>
                  <a:lnTo>
                    <a:pt x="242363" y="95563"/>
                  </a:lnTo>
                  <a:lnTo>
                    <a:pt x="244792" y="91331"/>
                  </a:lnTo>
                  <a:lnTo>
                    <a:pt x="249625" y="90976"/>
                  </a:lnTo>
                  <a:lnTo>
                    <a:pt x="246413" y="87318"/>
                  </a:lnTo>
                  <a:lnTo>
                    <a:pt x="247546" y="82568"/>
                  </a:lnTo>
                  <a:lnTo>
                    <a:pt x="243119" y="84533"/>
                  </a:lnTo>
                  <a:close/>
                  <a:moveTo>
                    <a:pt x="105372" y="81940"/>
                  </a:moveTo>
                  <a:lnTo>
                    <a:pt x="101268" y="84533"/>
                  </a:lnTo>
                  <a:lnTo>
                    <a:pt x="96841" y="82568"/>
                  </a:lnTo>
                  <a:lnTo>
                    <a:pt x="97975" y="87318"/>
                  </a:lnTo>
                  <a:lnTo>
                    <a:pt x="94762" y="90976"/>
                  </a:lnTo>
                  <a:lnTo>
                    <a:pt x="99594" y="91331"/>
                  </a:lnTo>
                  <a:lnTo>
                    <a:pt x="102024" y="95563"/>
                  </a:lnTo>
                  <a:lnTo>
                    <a:pt x="103860" y="91031"/>
                  </a:lnTo>
                  <a:lnTo>
                    <a:pt x="108585" y="89993"/>
                  </a:lnTo>
                  <a:lnTo>
                    <a:pt x="104886" y="86827"/>
                  </a:lnTo>
                  <a:close/>
                  <a:moveTo>
                    <a:pt x="230910" y="70720"/>
                  </a:moveTo>
                  <a:lnTo>
                    <a:pt x="226879" y="73474"/>
                  </a:lnTo>
                  <a:lnTo>
                    <a:pt x="222361" y="71629"/>
                  </a:lnTo>
                  <a:lnTo>
                    <a:pt x="223687" y="76393"/>
                  </a:lnTo>
                  <a:lnTo>
                    <a:pt x="220576" y="80193"/>
                  </a:lnTo>
                  <a:lnTo>
                    <a:pt x="225418" y="80386"/>
                  </a:lnTo>
                  <a:lnTo>
                    <a:pt x="228015" y="84544"/>
                  </a:lnTo>
                  <a:lnTo>
                    <a:pt x="229692" y="79918"/>
                  </a:lnTo>
                  <a:lnTo>
                    <a:pt x="234399" y="78706"/>
                  </a:lnTo>
                  <a:lnTo>
                    <a:pt x="230585" y="75650"/>
                  </a:lnTo>
                  <a:close/>
                  <a:moveTo>
                    <a:pt x="113678" y="70720"/>
                  </a:moveTo>
                  <a:lnTo>
                    <a:pt x="114002" y="75650"/>
                  </a:lnTo>
                  <a:lnTo>
                    <a:pt x="110188" y="78706"/>
                  </a:lnTo>
                  <a:lnTo>
                    <a:pt x="114895" y="79918"/>
                  </a:lnTo>
                  <a:lnTo>
                    <a:pt x="116572" y="84544"/>
                  </a:lnTo>
                  <a:lnTo>
                    <a:pt x="119169" y="80386"/>
                  </a:lnTo>
                  <a:lnTo>
                    <a:pt x="124011" y="80193"/>
                  </a:lnTo>
                  <a:lnTo>
                    <a:pt x="120900" y="76393"/>
                  </a:lnTo>
                  <a:lnTo>
                    <a:pt x="122226" y="71629"/>
                  </a:lnTo>
                  <a:lnTo>
                    <a:pt x="117708" y="73474"/>
                  </a:lnTo>
                  <a:close/>
                  <a:moveTo>
                    <a:pt x="212334" y="62106"/>
                  </a:moveTo>
                  <a:lnTo>
                    <a:pt x="208828" y="65489"/>
                  </a:lnTo>
                  <a:lnTo>
                    <a:pt x="204046" y="64507"/>
                  </a:lnTo>
                  <a:lnTo>
                    <a:pt x="206165" y="68900"/>
                  </a:lnTo>
                  <a:lnTo>
                    <a:pt x="203747" y="73156"/>
                  </a:lnTo>
                  <a:lnTo>
                    <a:pt x="208584" y="72501"/>
                  </a:lnTo>
                  <a:lnTo>
                    <a:pt x="211844" y="76130"/>
                  </a:lnTo>
                  <a:lnTo>
                    <a:pt x="212714" y="71301"/>
                  </a:lnTo>
                  <a:lnTo>
                    <a:pt x="217170" y="69282"/>
                  </a:lnTo>
                  <a:lnTo>
                    <a:pt x="212877" y="66962"/>
                  </a:lnTo>
                  <a:close/>
                  <a:moveTo>
                    <a:pt x="132182" y="62106"/>
                  </a:moveTo>
                  <a:lnTo>
                    <a:pt x="131646" y="66962"/>
                  </a:lnTo>
                  <a:lnTo>
                    <a:pt x="127417" y="69282"/>
                  </a:lnTo>
                  <a:lnTo>
                    <a:pt x="131807" y="71301"/>
                  </a:lnTo>
                  <a:lnTo>
                    <a:pt x="132663" y="76130"/>
                  </a:lnTo>
                  <a:lnTo>
                    <a:pt x="135875" y="72501"/>
                  </a:lnTo>
                  <a:lnTo>
                    <a:pt x="140640" y="73156"/>
                  </a:lnTo>
                  <a:lnTo>
                    <a:pt x="138258" y="68900"/>
                  </a:lnTo>
                  <a:lnTo>
                    <a:pt x="140345" y="64507"/>
                  </a:lnTo>
                  <a:lnTo>
                    <a:pt x="135635" y="65489"/>
                  </a:lnTo>
                  <a:close/>
                  <a:moveTo>
                    <a:pt x="192615" y="56897"/>
                  </a:moveTo>
                  <a:lnTo>
                    <a:pt x="189761" y="60835"/>
                  </a:lnTo>
                  <a:lnTo>
                    <a:pt x="184915" y="60672"/>
                  </a:lnTo>
                  <a:lnTo>
                    <a:pt x="187742" y="64637"/>
                  </a:lnTo>
                  <a:lnTo>
                    <a:pt x="186127" y="69227"/>
                  </a:lnTo>
                  <a:lnTo>
                    <a:pt x="190704" y="67733"/>
                  </a:lnTo>
                  <a:lnTo>
                    <a:pt x="194527" y="70720"/>
                  </a:lnTo>
                  <a:lnTo>
                    <a:pt x="194554" y="65832"/>
                  </a:lnTo>
                  <a:lnTo>
                    <a:pt x="198538" y="63089"/>
                  </a:lnTo>
                  <a:lnTo>
                    <a:pt x="193961" y="61568"/>
                  </a:lnTo>
                  <a:close/>
                  <a:moveTo>
                    <a:pt x="151859" y="56897"/>
                  </a:moveTo>
                  <a:lnTo>
                    <a:pt x="150493" y="61568"/>
                  </a:lnTo>
                  <a:lnTo>
                    <a:pt x="145849" y="63089"/>
                  </a:lnTo>
                  <a:lnTo>
                    <a:pt x="149892" y="65832"/>
                  </a:lnTo>
                  <a:lnTo>
                    <a:pt x="149919" y="70720"/>
                  </a:lnTo>
                  <a:lnTo>
                    <a:pt x="153798" y="67733"/>
                  </a:lnTo>
                  <a:lnTo>
                    <a:pt x="158443" y="69227"/>
                  </a:lnTo>
                  <a:lnTo>
                    <a:pt x="156804" y="64637"/>
                  </a:lnTo>
                  <a:lnTo>
                    <a:pt x="159672" y="60672"/>
                  </a:lnTo>
                  <a:lnTo>
                    <a:pt x="154755" y="60835"/>
                  </a:lnTo>
                  <a:close/>
                  <a:moveTo>
                    <a:pt x="172307" y="55094"/>
                  </a:moveTo>
                  <a:lnTo>
                    <a:pt x="170121" y="59447"/>
                  </a:lnTo>
                  <a:lnTo>
                    <a:pt x="165282" y="60150"/>
                  </a:lnTo>
                  <a:lnTo>
                    <a:pt x="168781" y="63530"/>
                  </a:lnTo>
                  <a:lnTo>
                    <a:pt x="167961" y="68316"/>
                  </a:lnTo>
                  <a:lnTo>
                    <a:pt x="172307" y="66045"/>
                  </a:lnTo>
                  <a:lnTo>
                    <a:pt x="176627" y="68316"/>
                  </a:lnTo>
                  <a:lnTo>
                    <a:pt x="175806" y="63530"/>
                  </a:lnTo>
                  <a:lnTo>
                    <a:pt x="179306" y="60150"/>
                  </a:lnTo>
                  <a:lnTo>
                    <a:pt x="174467" y="59447"/>
                  </a:lnTo>
                  <a:close/>
                  <a:moveTo>
                    <a:pt x="171615" y="48293"/>
                  </a:moveTo>
                  <a:cubicBezTo>
                    <a:pt x="239051" y="48293"/>
                    <a:pt x="293719" y="102961"/>
                    <a:pt x="293719" y="170398"/>
                  </a:cubicBezTo>
                  <a:cubicBezTo>
                    <a:pt x="293719" y="237834"/>
                    <a:pt x="239051" y="292503"/>
                    <a:pt x="171615" y="292503"/>
                  </a:cubicBezTo>
                  <a:cubicBezTo>
                    <a:pt x="104179" y="292503"/>
                    <a:pt x="49510" y="237834"/>
                    <a:pt x="49510" y="170398"/>
                  </a:cubicBezTo>
                  <a:cubicBezTo>
                    <a:pt x="49510" y="102961"/>
                    <a:pt x="104179" y="48293"/>
                    <a:pt x="171615" y="48293"/>
                  </a:cubicBezTo>
                  <a:close/>
                  <a:moveTo>
                    <a:pt x="171615" y="34348"/>
                  </a:moveTo>
                  <a:cubicBezTo>
                    <a:pt x="96477" y="34348"/>
                    <a:pt x="35565" y="95260"/>
                    <a:pt x="35565" y="170398"/>
                  </a:cubicBezTo>
                  <a:cubicBezTo>
                    <a:pt x="35565" y="245536"/>
                    <a:pt x="96477" y="306448"/>
                    <a:pt x="171615" y="306448"/>
                  </a:cubicBezTo>
                  <a:cubicBezTo>
                    <a:pt x="246753" y="306448"/>
                    <a:pt x="307665" y="245536"/>
                    <a:pt x="307665" y="170398"/>
                  </a:cubicBezTo>
                  <a:cubicBezTo>
                    <a:pt x="307665" y="95260"/>
                    <a:pt x="246753" y="34348"/>
                    <a:pt x="171615" y="34348"/>
                  </a:cubicBezTo>
                  <a:close/>
                  <a:moveTo>
                    <a:pt x="172307" y="0"/>
                  </a:moveTo>
                  <a:cubicBezTo>
                    <a:pt x="186784" y="0"/>
                    <a:pt x="198956" y="17777"/>
                    <a:pt x="212700" y="21468"/>
                  </a:cubicBezTo>
                  <a:cubicBezTo>
                    <a:pt x="226580" y="25187"/>
                    <a:pt x="246018" y="15932"/>
                    <a:pt x="258434" y="23124"/>
                  </a:cubicBezTo>
                  <a:cubicBezTo>
                    <a:pt x="270768" y="30235"/>
                    <a:pt x="272476" y="51703"/>
                    <a:pt x="282724" y="61936"/>
                  </a:cubicBezTo>
                  <a:cubicBezTo>
                    <a:pt x="292944" y="72195"/>
                    <a:pt x="314387" y="73905"/>
                    <a:pt x="321490" y="86254"/>
                  </a:cubicBezTo>
                  <a:cubicBezTo>
                    <a:pt x="328674" y="98684"/>
                    <a:pt x="319430" y="118144"/>
                    <a:pt x="323144" y="132040"/>
                  </a:cubicBezTo>
                  <a:cubicBezTo>
                    <a:pt x="326831" y="145801"/>
                    <a:pt x="344587" y="158014"/>
                    <a:pt x="344587" y="172508"/>
                  </a:cubicBezTo>
                  <a:cubicBezTo>
                    <a:pt x="344587" y="187001"/>
                    <a:pt x="326831" y="199214"/>
                    <a:pt x="323144" y="212975"/>
                  </a:cubicBezTo>
                  <a:cubicBezTo>
                    <a:pt x="319430" y="226844"/>
                    <a:pt x="328674" y="246304"/>
                    <a:pt x="321490" y="258734"/>
                  </a:cubicBezTo>
                  <a:cubicBezTo>
                    <a:pt x="314387" y="271083"/>
                    <a:pt x="292944" y="272793"/>
                    <a:pt x="282724" y="283052"/>
                  </a:cubicBezTo>
                  <a:cubicBezTo>
                    <a:pt x="272476" y="293312"/>
                    <a:pt x="270768" y="314753"/>
                    <a:pt x="258434" y="321891"/>
                  </a:cubicBezTo>
                  <a:cubicBezTo>
                    <a:pt x="246018" y="329056"/>
                    <a:pt x="226580" y="319801"/>
                    <a:pt x="212700" y="323520"/>
                  </a:cubicBezTo>
                  <a:cubicBezTo>
                    <a:pt x="198956" y="327211"/>
                    <a:pt x="186784" y="344988"/>
                    <a:pt x="172307" y="344988"/>
                  </a:cubicBezTo>
                  <a:cubicBezTo>
                    <a:pt x="157804" y="344988"/>
                    <a:pt x="145632" y="327211"/>
                    <a:pt x="131887" y="323520"/>
                  </a:cubicBezTo>
                  <a:cubicBezTo>
                    <a:pt x="118007" y="319801"/>
                    <a:pt x="98570" y="329056"/>
                    <a:pt x="86154" y="321891"/>
                  </a:cubicBezTo>
                  <a:cubicBezTo>
                    <a:pt x="73819" y="314753"/>
                    <a:pt x="72111" y="293312"/>
                    <a:pt x="61864" y="283052"/>
                  </a:cubicBezTo>
                  <a:cubicBezTo>
                    <a:pt x="51644" y="272793"/>
                    <a:pt x="30200" y="271083"/>
                    <a:pt x="23097" y="258734"/>
                  </a:cubicBezTo>
                  <a:cubicBezTo>
                    <a:pt x="15913" y="246304"/>
                    <a:pt x="25158" y="226844"/>
                    <a:pt x="21444" y="212975"/>
                  </a:cubicBezTo>
                  <a:cubicBezTo>
                    <a:pt x="17757" y="199214"/>
                    <a:pt x="0" y="187001"/>
                    <a:pt x="0" y="172508"/>
                  </a:cubicBezTo>
                  <a:cubicBezTo>
                    <a:pt x="0" y="158014"/>
                    <a:pt x="17757" y="145801"/>
                    <a:pt x="21444" y="132040"/>
                  </a:cubicBezTo>
                  <a:cubicBezTo>
                    <a:pt x="25158" y="118144"/>
                    <a:pt x="15913" y="98684"/>
                    <a:pt x="23097" y="86254"/>
                  </a:cubicBezTo>
                  <a:cubicBezTo>
                    <a:pt x="30200" y="73905"/>
                    <a:pt x="51644" y="72195"/>
                    <a:pt x="61864" y="61936"/>
                  </a:cubicBezTo>
                  <a:cubicBezTo>
                    <a:pt x="72111" y="51703"/>
                    <a:pt x="73819" y="30235"/>
                    <a:pt x="86154" y="23124"/>
                  </a:cubicBezTo>
                  <a:cubicBezTo>
                    <a:pt x="98570" y="15932"/>
                    <a:pt x="118007" y="25187"/>
                    <a:pt x="131887" y="21468"/>
                  </a:cubicBezTo>
                  <a:cubicBezTo>
                    <a:pt x="145632" y="17777"/>
                    <a:pt x="157804" y="0"/>
                    <a:pt x="17230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352">
              <a:extLst>
                <a:ext uri="{FF2B5EF4-FFF2-40B4-BE49-F238E27FC236}">
                  <a16:creationId xmlns:a16="http://schemas.microsoft.com/office/drawing/2014/main" id="{02E74E3F-674C-468C-B05E-B8BF34A8A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6243" y="443760"/>
              <a:ext cx="145448" cy="207954"/>
            </a:xfrm>
            <a:custGeom>
              <a:avLst/>
              <a:gdLst>
                <a:gd name="T0" fmla="*/ 3234 w 5365"/>
                <a:gd name="T1" fmla="*/ 384 h 7662"/>
                <a:gd name="T2" fmla="*/ 1547 w 5365"/>
                <a:gd name="T3" fmla="*/ 444 h 7662"/>
                <a:gd name="T4" fmla="*/ 57 w 5365"/>
                <a:gd name="T5" fmla="*/ 1235 h 7662"/>
                <a:gd name="T6" fmla="*/ 0 w 5365"/>
                <a:gd name="T7" fmla="*/ 1233 h 7662"/>
                <a:gd name="T8" fmla="*/ 1722 w 5365"/>
                <a:gd name="T9" fmla="*/ 7662 h 7662"/>
                <a:gd name="T10" fmla="*/ 3185 w 5365"/>
                <a:gd name="T11" fmla="*/ 5834 h 7662"/>
                <a:gd name="T12" fmla="*/ 5365 w 5365"/>
                <a:gd name="T13" fmla="*/ 6686 h 7662"/>
                <a:gd name="T14" fmla="*/ 3574 w 5365"/>
                <a:gd name="T15" fmla="*/ 0 h 7662"/>
                <a:gd name="T16" fmla="*/ 3234 w 5365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5" h="7662">
                  <a:moveTo>
                    <a:pt x="3234" y="384"/>
                  </a:moveTo>
                  <a:cubicBezTo>
                    <a:pt x="2776" y="649"/>
                    <a:pt x="2059" y="307"/>
                    <a:pt x="1547" y="444"/>
                  </a:cubicBezTo>
                  <a:cubicBezTo>
                    <a:pt x="1040" y="580"/>
                    <a:pt x="591" y="1235"/>
                    <a:pt x="57" y="1235"/>
                  </a:cubicBezTo>
                  <a:cubicBezTo>
                    <a:pt x="37" y="1235"/>
                    <a:pt x="18" y="1235"/>
                    <a:pt x="0" y="1233"/>
                  </a:cubicBezTo>
                  <a:lnTo>
                    <a:pt x="1722" y="7662"/>
                  </a:lnTo>
                  <a:lnTo>
                    <a:pt x="3185" y="5834"/>
                  </a:lnTo>
                  <a:lnTo>
                    <a:pt x="5365" y="6686"/>
                  </a:lnTo>
                  <a:lnTo>
                    <a:pt x="3574" y="0"/>
                  </a:lnTo>
                  <a:cubicBezTo>
                    <a:pt x="3485" y="162"/>
                    <a:pt x="3380" y="300"/>
                    <a:pt x="3234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353">
              <a:extLst>
                <a:ext uri="{FF2B5EF4-FFF2-40B4-BE49-F238E27FC236}">
                  <a16:creationId xmlns:a16="http://schemas.microsoft.com/office/drawing/2014/main" id="{DAD1C763-E31E-4212-98CA-65F48FEFF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373" y="443760"/>
              <a:ext cx="145448" cy="207954"/>
            </a:xfrm>
            <a:custGeom>
              <a:avLst/>
              <a:gdLst>
                <a:gd name="T0" fmla="*/ 2131 w 5366"/>
                <a:gd name="T1" fmla="*/ 384 h 7662"/>
                <a:gd name="T2" fmla="*/ 3818 w 5366"/>
                <a:gd name="T3" fmla="*/ 444 h 7662"/>
                <a:gd name="T4" fmla="*/ 5308 w 5366"/>
                <a:gd name="T5" fmla="*/ 1235 h 7662"/>
                <a:gd name="T6" fmla="*/ 5366 w 5366"/>
                <a:gd name="T7" fmla="*/ 1233 h 7662"/>
                <a:gd name="T8" fmla="*/ 3643 w 5366"/>
                <a:gd name="T9" fmla="*/ 7662 h 7662"/>
                <a:gd name="T10" fmla="*/ 2180 w 5366"/>
                <a:gd name="T11" fmla="*/ 5834 h 7662"/>
                <a:gd name="T12" fmla="*/ 0 w 5366"/>
                <a:gd name="T13" fmla="*/ 6686 h 7662"/>
                <a:gd name="T14" fmla="*/ 1791 w 5366"/>
                <a:gd name="T15" fmla="*/ 0 h 7662"/>
                <a:gd name="T16" fmla="*/ 2131 w 5366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6" h="7662">
                  <a:moveTo>
                    <a:pt x="2131" y="384"/>
                  </a:moveTo>
                  <a:cubicBezTo>
                    <a:pt x="2589" y="649"/>
                    <a:pt x="3306" y="307"/>
                    <a:pt x="3818" y="444"/>
                  </a:cubicBezTo>
                  <a:cubicBezTo>
                    <a:pt x="4325" y="580"/>
                    <a:pt x="4774" y="1235"/>
                    <a:pt x="5308" y="1235"/>
                  </a:cubicBezTo>
                  <a:cubicBezTo>
                    <a:pt x="5328" y="1235"/>
                    <a:pt x="5347" y="1235"/>
                    <a:pt x="5366" y="1233"/>
                  </a:cubicBezTo>
                  <a:lnTo>
                    <a:pt x="3643" y="7662"/>
                  </a:lnTo>
                  <a:lnTo>
                    <a:pt x="2180" y="5834"/>
                  </a:lnTo>
                  <a:lnTo>
                    <a:pt x="0" y="6686"/>
                  </a:lnTo>
                  <a:lnTo>
                    <a:pt x="1791" y="0"/>
                  </a:lnTo>
                  <a:cubicBezTo>
                    <a:pt x="1880" y="162"/>
                    <a:pt x="1985" y="300"/>
                    <a:pt x="2131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853131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me 3"/>
          <p:cNvGraphicFramePr/>
          <p:nvPr>
            <p:extLst>
              <p:ext uri="{D42A27DB-BD31-4B8C-83A1-F6EECF244321}">
                <p14:modId xmlns:p14="http://schemas.microsoft.com/office/powerpoint/2010/main" val="1911525519"/>
              </p:ext>
            </p:extLst>
          </p:nvPr>
        </p:nvGraphicFramePr>
        <p:xfrm>
          <a:off x="1775520" y="188640"/>
          <a:ext cx="8568952" cy="54726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Rectangle à coins arrondis 1"/>
          <p:cNvSpPr/>
          <p:nvPr/>
        </p:nvSpPr>
        <p:spPr>
          <a:xfrm>
            <a:off x="1991544" y="5805264"/>
            <a:ext cx="8280920" cy="648072"/>
          </a:xfrm>
          <a:prstGeom prst="roundRect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b="1" dirty="0"/>
              <a:t>Quelle est la richesse d’ALBANE ?</a:t>
            </a:r>
          </a:p>
        </p:txBody>
      </p:sp>
    </p:spTree>
    <p:extLst>
      <p:ext uri="{BB962C8B-B14F-4D97-AF65-F5344CB8AC3E}">
        <p14:creationId xmlns:p14="http://schemas.microsoft.com/office/powerpoint/2010/main" val="31730076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Afficher l'image d'origin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1664" y="404664"/>
            <a:ext cx="67056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Organigramme : Processus 1"/>
          <p:cNvSpPr/>
          <p:nvPr/>
        </p:nvSpPr>
        <p:spPr>
          <a:xfrm rot="5400000">
            <a:off x="3482202" y="1754468"/>
            <a:ext cx="864096" cy="3567608"/>
          </a:xfrm>
          <a:prstGeom prst="flowChartProcess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sz="4000" dirty="0"/>
              <a:t>EMPLOIS</a:t>
            </a:r>
          </a:p>
        </p:txBody>
      </p:sp>
      <p:sp>
        <p:nvSpPr>
          <p:cNvPr id="5" name="Organigramme : Processus 4"/>
          <p:cNvSpPr/>
          <p:nvPr/>
        </p:nvSpPr>
        <p:spPr>
          <a:xfrm rot="16200000">
            <a:off x="8167836" y="1754469"/>
            <a:ext cx="864096" cy="3567608"/>
          </a:xfrm>
          <a:prstGeom prst="flowChartProcess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fr-FR" sz="4000" dirty="0"/>
              <a:t>RESSOURCES</a:t>
            </a:r>
          </a:p>
        </p:txBody>
      </p:sp>
      <p:sp>
        <p:nvSpPr>
          <p:cNvPr id="4" name="Égal 3"/>
          <p:cNvSpPr/>
          <p:nvPr/>
        </p:nvSpPr>
        <p:spPr>
          <a:xfrm>
            <a:off x="5936820" y="3195604"/>
            <a:ext cx="648072" cy="685337"/>
          </a:xfrm>
          <a:prstGeom prst="mathEqual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6" name="Ellipse 5"/>
          <p:cNvSpPr/>
          <p:nvPr/>
        </p:nvSpPr>
        <p:spPr>
          <a:xfrm>
            <a:off x="2380630" y="4653136"/>
            <a:ext cx="7760452" cy="1296144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600" b="1" dirty="0"/>
              <a:t>Principe de la partie double</a:t>
            </a:r>
          </a:p>
        </p:txBody>
      </p:sp>
    </p:spTree>
    <p:extLst>
      <p:ext uri="{BB962C8B-B14F-4D97-AF65-F5344CB8AC3E}">
        <p14:creationId xmlns:p14="http://schemas.microsoft.com/office/powerpoint/2010/main" val="28839044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 descr="Afficher l'image d'origin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3679" y="1772816"/>
            <a:ext cx="5134594" cy="4752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Afficher l'image d'origin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5600" y="260648"/>
            <a:ext cx="67056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Organigramme : Processus 1"/>
          <p:cNvSpPr/>
          <p:nvPr/>
        </p:nvSpPr>
        <p:spPr>
          <a:xfrm>
            <a:off x="1919536" y="2316234"/>
            <a:ext cx="864096" cy="3567608"/>
          </a:xfrm>
          <a:prstGeom prst="flowChartProcess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sz="4000" dirty="0"/>
              <a:t>EMPLOIS</a:t>
            </a:r>
          </a:p>
        </p:txBody>
      </p:sp>
      <p:sp>
        <p:nvSpPr>
          <p:cNvPr id="5" name="Organigramme : Processus 4"/>
          <p:cNvSpPr/>
          <p:nvPr/>
        </p:nvSpPr>
        <p:spPr>
          <a:xfrm>
            <a:off x="9356817" y="2339380"/>
            <a:ext cx="864096" cy="3567608"/>
          </a:xfrm>
          <a:prstGeom prst="flowChartProcess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fr-FR" sz="4000" dirty="0"/>
              <a:t>RESSOURCES</a:t>
            </a:r>
          </a:p>
        </p:txBody>
      </p:sp>
      <p:sp>
        <p:nvSpPr>
          <p:cNvPr id="3" name="Flèche droite 2"/>
          <p:cNvSpPr/>
          <p:nvPr/>
        </p:nvSpPr>
        <p:spPr>
          <a:xfrm>
            <a:off x="2860657" y="3799148"/>
            <a:ext cx="633023" cy="648072"/>
          </a:xfrm>
          <a:prstGeom prst="rightArrow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Flèche droite 6"/>
          <p:cNvSpPr/>
          <p:nvPr/>
        </p:nvSpPr>
        <p:spPr>
          <a:xfrm rot="10800000">
            <a:off x="8628274" y="3776002"/>
            <a:ext cx="633023" cy="648072"/>
          </a:xfrm>
          <a:prstGeom prst="rightArrow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317470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2517F6E-26E9-44E8-815E-774552D9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9960" y="1591878"/>
            <a:ext cx="4251960" cy="3081195"/>
          </a:xfrm>
          <a:prstGeom prst="ellipse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3400" b="0" i="0" dirty="0">
                <a:effectLst/>
              </a:rPr>
              <a:t>Le </a:t>
            </a:r>
            <a:r>
              <a:rPr lang="en-US" sz="3400" b="0" i="0" dirty="0" err="1">
                <a:effectLst/>
              </a:rPr>
              <a:t>Bilan</a:t>
            </a:r>
            <a:r>
              <a:rPr lang="en-US" sz="3400" b="0" i="0" dirty="0">
                <a:effectLst/>
              </a:rPr>
              <a:t> - </a:t>
            </a:r>
            <a:r>
              <a:rPr lang="en-US" sz="3400" b="0" i="0" dirty="0" err="1">
                <a:effectLst/>
              </a:rPr>
              <a:t>Origine</a:t>
            </a:r>
            <a:endParaRPr lang="en-US" sz="3400" dirty="0"/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E49CC64F-7275-4E33-961B-0C5CDC4398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 flipV="1">
            <a:off x="1" y="0"/>
            <a:ext cx="7188051" cy="6858000"/>
          </a:xfrm>
          <a:custGeom>
            <a:avLst/>
            <a:gdLst>
              <a:gd name="connsiteX0" fmla="*/ 7188051 w 7188051"/>
              <a:gd name="connsiteY0" fmla="*/ 6858000 h 6858000"/>
              <a:gd name="connsiteX1" fmla="*/ 108694 w 7188051"/>
              <a:gd name="connsiteY1" fmla="*/ 6858000 h 6858000"/>
              <a:gd name="connsiteX2" fmla="*/ 79127 w 7188051"/>
              <a:gd name="connsiteY2" fmla="*/ 6681235 h 6858000"/>
              <a:gd name="connsiteX3" fmla="*/ 0 w 7188051"/>
              <a:gd name="connsiteY3" fmla="*/ 5565888 h 6858000"/>
              <a:gd name="connsiteX4" fmla="*/ 2190696 w 7188051"/>
              <a:gd name="connsiteY4" fmla="*/ 145339 h 6858000"/>
              <a:gd name="connsiteX5" fmla="*/ 2339431 w 7188051"/>
              <a:gd name="connsiteY5" fmla="*/ 0 h 6858000"/>
              <a:gd name="connsiteX6" fmla="*/ 7188051 w 718805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88051" h="6858000">
                <a:moveTo>
                  <a:pt x="7188051" y="6858000"/>
                </a:moveTo>
                <a:lnTo>
                  <a:pt x="108694" y="6858000"/>
                </a:lnTo>
                <a:lnTo>
                  <a:pt x="79127" y="6681235"/>
                </a:lnTo>
                <a:cubicBezTo>
                  <a:pt x="26981" y="6316967"/>
                  <a:pt x="0" y="5944579"/>
                  <a:pt x="0" y="5565888"/>
                </a:cubicBezTo>
                <a:cubicBezTo>
                  <a:pt x="0" y="3459953"/>
                  <a:pt x="834428" y="1548908"/>
                  <a:pt x="2190696" y="145339"/>
                </a:cubicBezTo>
                <a:lnTo>
                  <a:pt x="2339431" y="0"/>
                </a:lnTo>
                <a:lnTo>
                  <a:pt x="7188051" y="0"/>
                </a:lnTo>
                <a:close/>
              </a:path>
            </a:pathLst>
          </a:cu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6" name="Picture 35" descr="Calculatrice et bloc-notes">
            <a:extLst>
              <a:ext uri="{FF2B5EF4-FFF2-40B4-BE49-F238E27FC236}">
                <a16:creationId xmlns:a16="http://schemas.microsoft.com/office/drawing/2014/main" id="{E19A54F0-B20E-4F8C-9128-4269DFE89C5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0658" r="932" b="-1"/>
          <a:stretch/>
        </p:blipFill>
        <p:spPr>
          <a:xfrm>
            <a:off x="1" y="10"/>
            <a:ext cx="7028495" cy="6857990"/>
          </a:xfrm>
          <a:custGeom>
            <a:avLst/>
            <a:gdLst/>
            <a:ahLst/>
            <a:cxnLst/>
            <a:rect l="l" t="t" r="r" b="b"/>
            <a:pathLst>
              <a:path w="7028495" h="6858000">
                <a:moveTo>
                  <a:pt x="0" y="0"/>
                </a:moveTo>
                <a:lnTo>
                  <a:pt x="6915668" y="0"/>
                </a:lnTo>
                <a:lnTo>
                  <a:pt x="6952411" y="219663"/>
                </a:lnTo>
                <a:cubicBezTo>
                  <a:pt x="7002551" y="569921"/>
                  <a:pt x="7028495" y="927986"/>
                  <a:pt x="7028495" y="1292112"/>
                </a:cubicBezTo>
                <a:cubicBezTo>
                  <a:pt x="7028495" y="3343346"/>
                  <a:pt x="6205186" y="5202289"/>
                  <a:pt x="4870994" y="6556512"/>
                </a:cubicBezTo>
                <a:lnTo>
                  <a:pt x="4556185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AE196125-F657-4A8D-BF6F-9D35E2A19BAA}"/>
              </a:ext>
            </a:extLst>
          </p:cNvPr>
          <p:cNvSpPr txBox="1"/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23" name="ZoneTexte 2">
            <a:extLst>
              <a:ext uri="{FF2B5EF4-FFF2-40B4-BE49-F238E27FC236}">
                <a16:creationId xmlns:a16="http://schemas.microsoft.com/office/drawing/2014/main" id="{61BA051E-0D20-4CC3-9958-C0CFDE297C40}"/>
              </a:ext>
            </a:extLst>
          </p:cNvPr>
          <p:cNvSpPr txBox="1"/>
          <p:nvPr/>
        </p:nvSpPr>
        <p:spPr>
          <a:xfrm>
            <a:off x="1179226" y="3092970"/>
            <a:ext cx="9833548" cy="26939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</p:txBody>
      </p:sp>
      <p:grpSp>
        <p:nvGrpSpPr>
          <p:cNvPr id="7" name="Awar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1C68EA-2299-4048-9768-29BE3CCCA72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0"/>
            <a:ext cx="344587" cy="542925"/>
            <a:chOff x="2585735" y="108789"/>
            <a:chExt cx="344587" cy="542925"/>
          </a:xfrm>
        </p:grpSpPr>
        <p:sp>
          <p:nvSpPr>
            <p:cNvPr id="8" name="Freeform: Shape 206">
              <a:extLst>
                <a:ext uri="{FF2B5EF4-FFF2-40B4-BE49-F238E27FC236}">
                  <a16:creationId xmlns:a16="http://schemas.microsoft.com/office/drawing/2014/main" id="{F1582718-4360-43D7-8A82-7C736EEF1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735" y="108789"/>
              <a:ext cx="344587" cy="344988"/>
            </a:xfrm>
            <a:custGeom>
              <a:avLst/>
              <a:gdLst>
                <a:gd name="connsiteX0" fmla="*/ 167961 w 344587"/>
                <a:gd name="connsiteY0" fmla="*/ 276672 h 344988"/>
                <a:gd name="connsiteX1" fmla="*/ 168781 w 344587"/>
                <a:gd name="connsiteY1" fmla="*/ 281441 h 344988"/>
                <a:gd name="connsiteX2" fmla="*/ 165282 w 344587"/>
                <a:gd name="connsiteY2" fmla="*/ 284827 h 344988"/>
                <a:gd name="connsiteX3" fmla="*/ 170121 w 344587"/>
                <a:gd name="connsiteY3" fmla="*/ 285532 h 344988"/>
                <a:gd name="connsiteX4" fmla="*/ 172307 w 344587"/>
                <a:gd name="connsiteY4" fmla="*/ 289894 h 344988"/>
                <a:gd name="connsiteX5" fmla="*/ 174467 w 344587"/>
                <a:gd name="connsiteY5" fmla="*/ 285532 h 344988"/>
                <a:gd name="connsiteX6" fmla="*/ 179306 w 344587"/>
                <a:gd name="connsiteY6" fmla="*/ 284827 h 344988"/>
                <a:gd name="connsiteX7" fmla="*/ 175806 w 344587"/>
                <a:gd name="connsiteY7" fmla="*/ 281441 h 344988"/>
                <a:gd name="connsiteX8" fmla="*/ 176627 w 344587"/>
                <a:gd name="connsiteY8" fmla="*/ 276672 h 344988"/>
                <a:gd name="connsiteX9" fmla="*/ 172307 w 344587"/>
                <a:gd name="connsiteY9" fmla="*/ 278921 h 344988"/>
                <a:gd name="connsiteX10" fmla="*/ 194527 w 344587"/>
                <a:gd name="connsiteY10" fmla="*/ 274468 h 344988"/>
                <a:gd name="connsiteX11" fmla="*/ 190704 w 344587"/>
                <a:gd name="connsiteY11" fmla="*/ 277391 h 344988"/>
                <a:gd name="connsiteX12" fmla="*/ 186127 w 344587"/>
                <a:gd name="connsiteY12" fmla="*/ 275943 h 344988"/>
                <a:gd name="connsiteX13" fmla="*/ 187742 w 344587"/>
                <a:gd name="connsiteY13" fmla="*/ 280475 h 344988"/>
                <a:gd name="connsiteX14" fmla="*/ 184915 w 344587"/>
                <a:gd name="connsiteY14" fmla="*/ 284363 h 344988"/>
                <a:gd name="connsiteX15" fmla="*/ 189761 w 344587"/>
                <a:gd name="connsiteY15" fmla="*/ 284229 h 344988"/>
                <a:gd name="connsiteX16" fmla="*/ 192615 w 344587"/>
                <a:gd name="connsiteY16" fmla="*/ 288091 h 344988"/>
                <a:gd name="connsiteX17" fmla="*/ 193961 w 344587"/>
                <a:gd name="connsiteY17" fmla="*/ 283479 h 344988"/>
                <a:gd name="connsiteX18" fmla="*/ 198538 w 344587"/>
                <a:gd name="connsiteY18" fmla="*/ 281977 h 344988"/>
                <a:gd name="connsiteX19" fmla="*/ 194554 w 344587"/>
                <a:gd name="connsiteY19" fmla="*/ 279268 h 344988"/>
                <a:gd name="connsiteX20" fmla="*/ 149919 w 344587"/>
                <a:gd name="connsiteY20" fmla="*/ 274468 h 344988"/>
                <a:gd name="connsiteX21" fmla="*/ 149892 w 344587"/>
                <a:gd name="connsiteY21" fmla="*/ 279268 h 344988"/>
                <a:gd name="connsiteX22" fmla="*/ 145849 w 344587"/>
                <a:gd name="connsiteY22" fmla="*/ 281977 h 344988"/>
                <a:gd name="connsiteX23" fmla="*/ 150493 w 344587"/>
                <a:gd name="connsiteY23" fmla="*/ 283479 h 344988"/>
                <a:gd name="connsiteX24" fmla="*/ 151859 w 344587"/>
                <a:gd name="connsiteY24" fmla="*/ 288091 h 344988"/>
                <a:gd name="connsiteX25" fmla="*/ 154755 w 344587"/>
                <a:gd name="connsiteY25" fmla="*/ 284229 h 344988"/>
                <a:gd name="connsiteX26" fmla="*/ 159672 w 344587"/>
                <a:gd name="connsiteY26" fmla="*/ 284363 h 344988"/>
                <a:gd name="connsiteX27" fmla="*/ 156804 w 344587"/>
                <a:gd name="connsiteY27" fmla="*/ 280475 h 344988"/>
                <a:gd name="connsiteX28" fmla="*/ 158443 w 344587"/>
                <a:gd name="connsiteY28" fmla="*/ 275943 h 344988"/>
                <a:gd name="connsiteX29" fmla="*/ 153798 w 344587"/>
                <a:gd name="connsiteY29" fmla="*/ 277391 h 344988"/>
                <a:gd name="connsiteX30" fmla="*/ 211844 w 344587"/>
                <a:gd name="connsiteY30" fmla="*/ 268858 h 344988"/>
                <a:gd name="connsiteX31" fmla="*/ 208584 w 344587"/>
                <a:gd name="connsiteY31" fmla="*/ 272467 h 344988"/>
                <a:gd name="connsiteX32" fmla="*/ 203747 w 344587"/>
                <a:gd name="connsiteY32" fmla="*/ 271811 h 344988"/>
                <a:gd name="connsiteX33" fmla="*/ 206165 w 344587"/>
                <a:gd name="connsiteY33" fmla="*/ 276075 h 344988"/>
                <a:gd name="connsiteX34" fmla="*/ 204046 w 344587"/>
                <a:gd name="connsiteY34" fmla="*/ 280504 h 344988"/>
                <a:gd name="connsiteX35" fmla="*/ 208828 w 344587"/>
                <a:gd name="connsiteY35" fmla="*/ 279492 h 344988"/>
                <a:gd name="connsiteX36" fmla="*/ 212334 w 344587"/>
                <a:gd name="connsiteY36" fmla="*/ 282882 h 344988"/>
                <a:gd name="connsiteX37" fmla="*/ 212877 w 344587"/>
                <a:gd name="connsiteY37" fmla="*/ 278016 h 344988"/>
                <a:gd name="connsiteX38" fmla="*/ 217170 w 344587"/>
                <a:gd name="connsiteY38" fmla="*/ 275693 h 344988"/>
                <a:gd name="connsiteX39" fmla="*/ 212714 w 344587"/>
                <a:gd name="connsiteY39" fmla="*/ 273670 h 344988"/>
                <a:gd name="connsiteX40" fmla="*/ 132663 w 344587"/>
                <a:gd name="connsiteY40" fmla="*/ 268858 h 344988"/>
                <a:gd name="connsiteX41" fmla="*/ 131807 w 344587"/>
                <a:gd name="connsiteY41" fmla="*/ 273670 h 344988"/>
                <a:gd name="connsiteX42" fmla="*/ 127417 w 344587"/>
                <a:gd name="connsiteY42" fmla="*/ 275693 h 344988"/>
                <a:gd name="connsiteX43" fmla="*/ 131646 w 344587"/>
                <a:gd name="connsiteY43" fmla="*/ 278016 h 344988"/>
                <a:gd name="connsiteX44" fmla="*/ 132182 w 344587"/>
                <a:gd name="connsiteY44" fmla="*/ 282882 h 344988"/>
                <a:gd name="connsiteX45" fmla="*/ 135635 w 344587"/>
                <a:gd name="connsiteY45" fmla="*/ 279492 h 344988"/>
                <a:gd name="connsiteX46" fmla="*/ 140345 w 344587"/>
                <a:gd name="connsiteY46" fmla="*/ 280504 h 344988"/>
                <a:gd name="connsiteX47" fmla="*/ 138258 w 344587"/>
                <a:gd name="connsiteY47" fmla="*/ 276075 h 344988"/>
                <a:gd name="connsiteX48" fmla="*/ 140640 w 344587"/>
                <a:gd name="connsiteY48" fmla="*/ 271811 h 344988"/>
                <a:gd name="connsiteX49" fmla="*/ 135875 w 344587"/>
                <a:gd name="connsiteY49" fmla="*/ 272467 h 344988"/>
                <a:gd name="connsiteX50" fmla="*/ 228015 w 344587"/>
                <a:gd name="connsiteY50" fmla="*/ 260644 h 344988"/>
                <a:gd name="connsiteX51" fmla="*/ 225418 w 344587"/>
                <a:gd name="connsiteY51" fmla="*/ 264769 h 344988"/>
                <a:gd name="connsiteX52" fmla="*/ 220576 w 344587"/>
                <a:gd name="connsiteY52" fmla="*/ 264959 h 344988"/>
                <a:gd name="connsiteX53" fmla="*/ 223687 w 344587"/>
                <a:gd name="connsiteY53" fmla="*/ 268704 h 344988"/>
                <a:gd name="connsiteX54" fmla="*/ 222361 w 344587"/>
                <a:gd name="connsiteY54" fmla="*/ 273372 h 344988"/>
                <a:gd name="connsiteX55" fmla="*/ 226879 w 344587"/>
                <a:gd name="connsiteY55" fmla="*/ 271581 h 344988"/>
                <a:gd name="connsiteX56" fmla="*/ 230910 w 344587"/>
                <a:gd name="connsiteY56" fmla="*/ 274268 h 344988"/>
                <a:gd name="connsiteX57" fmla="*/ 230585 w 344587"/>
                <a:gd name="connsiteY57" fmla="*/ 269410 h 344988"/>
                <a:gd name="connsiteX58" fmla="*/ 234399 w 344587"/>
                <a:gd name="connsiteY58" fmla="*/ 266398 h 344988"/>
                <a:gd name="connsiteX59" fmla="*/ 229692 w 344587"/>
                <a:gd name="connsiteY59" fmla="*/ 265204 h 344988"/>
                <a:gd name="connsiteX60" fmla="*/ 116572 w 344587"/>
                <a:gd name="connsiteY60" fmla="*/ 260644 h 344988"/>
                <a:gd name="connsiteX61" fmla="*/ 114895 w 344587"/>
                <a:gd name="connsiteY61" fmla="*/ 265204 h 344988"/>
                <a:gd name="connsiteX62" fmla="*/ 110188 w 344587"/>
                <a:gd name="connsiteY62" fmla="*/ 266398 h 344988"/>
                <a:gd name="connsiteX63" fmla="*/ 114002 w 344587"/>
                <a:gd name="connsiteY63" fmla="*/ 269410 h 344988"/>
                <a:gd name="connsiteX64" fmla="*/ 113678 w 344587"/>
                <a:gd name="connsiteY64" fmla="*/ 274268 h 344988"/>
                <a:gd name="connsiteX65" fmla="*/ 117708 w 344587"/>
                <a:gd name="connsiteY65" fmla="*/ 271581 h 344988"/>
                <a:gd name="connsiteX66" fmla="*/ 122226 w 344587"/>
                <a:gd name="connsiteY66" fmla="*/ 273372 h 344988"/>
                <a:gd name="connsiteX67" fmla="*/ 120900 w 344587"/>
                <a:gd name="connsiteY67" fmla="*/ 268704 h 344988"/>
                <a:gd name="connsiteX68" fmla="*/ 124011 w 344587"/>
                <a:gd name="connsiteY68" fmla="*/ 264959 h 344988"/>
                <a:gd name="connsiteX69" fmla="*/ 119169 w 344587"/>
                <a:gd name="connsiteY69" fmla="*/ 264769 h 344988"/>
                <a:gd name="connsiteX70" fmla="*/ 242363 w 344587"/>
                <a:gd name="connsiteY70" fmla="*/ 249625 h 344988"/>
                <a:gd name="connsiteX71" fmla="*/ 240527 w 344587"/>
                <a:gd name="connsiteY71" fmla="*/ 254100 h 344988"/>
                <a:gd name="connsiteX72" fmla="*/ 235802 w 344587"/>
                <a:gd name="connsiteY72" fmla="*/ 255124 h 344988"/>
                <a:gd name="connsiteX73" fmla="*/ 239501 w 344587"/>
                <a:gd name="connsiteY73" fmla="*/ 258251 h 344988"/>
                <a:gd name="connsiteX74" fmla="*/ 239015 w 344587"/>
                <a:gd name="connsiteY74" fmla="*/ 263048 h 344988"/>
                <a:gd name="connsiteX75" fmla="*/ 243119 w 344587"/>
                <a:gd name="connsiteY75" fmla="*/ 260515 h 344988"/>
                <a:gd name="connsiteX76" fmla="*/ 247546 w 344587"/>
                <a:gd name="connsiteY76" fmla="*/ 262455 h 344988"/>
                <a:gd name="connsiteX77" fmla="*/ 246413 w 344587"/>
                <a:gd name="connsiteY77" fmla="*/ 257766 h 344988"/>
                <a:gd name="connsiteX78" fmla="*/ 249625 w 344587"/>
                <a:gd name="connsiteY78" fmla="*/ 254154 h 344988"/>
                <a:gd name="connsiteX79" fmla="*/ 244792 w 344587"/>
                <a:gd name="connsiteY79" fmla="*/ 253776 h 344988"/>
                <a:gd name="connsiteX80" fmla="*/ 102024 w 344587"/>
                <a:gd name="connsiteY80" fmla="*/ 249625 h 344988"/>
                <a:gd name="connsiteX81" fmla="*/ 99594 w 344587"/>
                <a:gd name="connsiteY81" fmla="*/ 253776 h 344988"/>
                <a:gd name="connsiteX82" fmla="*/ 94762 w 344587"/>
                <a:gd name="connsiteY82" fmla="*/ 254154 h 344988"/>
                <a:gd name="connsiteX83" fmla="*/ 97975 w 344587"/>
                <a:gd name="connsiteY83" fmla="*/ 257766 h 344988"/>
                <a:gd name="connsiteX84" fmla="*/ 96841 w 344587"/>
                <a:gd name="connsiteY84" fmla="*/ 262455 h 344988"/>
                <a:gd name="connsiteX85" fmla="*/ 101268 w 344587"/>
                <a:gd name="connsiteY85" fmla="*/ 260515 h 344988"/>
                <a:gd name="connsiteX86" fmla="*/ 105372 w 344587"/>
                <a:gd name="connsiteY86" fmla="*/ 263048 h 344988"/>
                <a:gd name="connsiteX87" fmla="*/ 104886 w 344587"/>
                <a:gd name="connsiteY87" fmla="*/ 258251 h 344988"/>
                <a:gd name="connsiteX88" fmla="*/ 108585 w 344587"/>
                <a:gd name="connsiteY88" fmla="*/ 255124 h 344988"/>
                <a:gd name="connsiteX89" fmla="*/ 103860 w 344587"/>
                <a:gd name="connsiteY89" fmla="*/ 254100 h 344988"/>
                <a:gd name="connsiteX90" fmla="*/ 254712 w 344587"/>
                <a:gd name="connsiteY90" fmla="*/ 236203 h 344988"/>
                <a:gd name="connsiteX91" fmla="*/ 253690 w 344587"/>
                <a:gd name="connsiteY91" fmla="*/ 240928 h 344988"/>
                <a:gd name="connsiteX92" fmla="*/ 249225 w 344587"/>
                <a:gd name="connsiteY92" fmla="*/ 242764 h 344988"/>
                <a:gd name="connsiteX93" fmla="*/ 253394 w 344587"/>
                <a:gd name="connsiteY93" fmla="*/ 245220 h 344988"/>
                <a:gd name="connsiteX94" fmla="*/ 253771 w 344587"/>
                <a:gd name="connsiteY94" fmla="*/ 250026 h 344988"/>
                <a:gd name="connsiteX95" fmla="*/ 257348 w 344587"/>
                <a:gd name="connsiteY95" fmla="*/ 246813 h 344988"/>
                <a:gd name="connsiteX96" fmla="*/ 262056 w 344587"/>
                <a:gd name="connsiteY96" fmla="*/ 247974 h 344988"/>
                <a:gd name="connsiteX97" fmla="*/ 260119 w 344587"/>
                <a:gd name="connsiteY97" fmla="*/ 243520 h 344988"/>
                <a:gd name="connsiteX98" fmla="*/ 262648 w 344587"/>
                <a:gd name="connsiteY98" fmla="*/ 239416 h 344988"/>
                <a:gd name="connsiteX99" fmla="*/ 257833 w 344587"/>
                <a:gd name="connsiteY99" fmla="*/ 239902 h 344988"/>
                <a:gd name="connsiteX100" fmla="*/ 89793 w 344587"/>
                <a:gd name="connsiteY100" fmla="*/ 236203 h 344988"/>
                <a:gd name="connsiteX101" fmla="*/ 86626 w 344587"/>
                <a:gd name="connsiteY101" fmla="*/ 239902 h 344988"/>
                <a:gd name="connsiteX102" fmla="*/ 81739 w 344587"/>
                <a:gd name="connsiteY102" fmla="*/ 239416 h 344988"/>
                <a:gd name="connsiteX103" fmla="*/ 84333 w 344587"/>
                <a:gd name="connsiteY103" fmla="*/ 243520 h 344988"/>
                <a:gd name="connsiteX104" fmla="*/ 82340 w 344587"/>
                <a:gd name="connsiteY104" fmla="*/ 247974 h 344988"/>
                <a:gd name="connsiteX105" fmla="*/ 87118 w 344587"/>
                <a:gd name="connsiteY105" fmla="*/ 246813 h 344988"/>
                <a:gd name="connsiteX106" fmla="*/ 90749 w 344587"/>
                <a:gd name="connsiteY106" fmla="*/ 250026 h 344988"/>
                <a:gd name="connsiteX107" fmla="*/ 91131 w 344587"/>
                <a:gd name="connsiteY107" fmla="*/ 245220 h 344988"/>
                <a:gd name="connsiteX108" fmla="*/ 95363 w 344587"/>
                <a:gd name="connsiteY108" fmla="*/ 242764 h 344988"/>
                <a:gd name="connsiteX109" fmla="*/ 90831 w 344587"/>
                <a:gd name="connsiteY109" fmla="*/ 240928 h 344988"/>
                <a:gd name="connsiteX110" fmla="*/ 264558 w 344587"/>
                <a:gd name="connsiteY110" fmla="*/ 220977 h 344988"/>
                <a:gd name="connsiteX111" fmla="*/ 264341 w 344587"/>
                <a:gd name="connsiteY111" fmla="*/ 225819 h 344988"/>
                <a:gd name="connsiteX112" fmla="*/ 260243 w 344587"/>
                <a:gd name="connsiteY112" fmla="*/ 228416 h 344988"/>
                <a:gd name="connsiteX113" fmla="*/ 264803 w 344587"/>
                <a:gd name="connsiteY113" fmla="*/ 230093 h 344988"/>
                <a:gd name="connsiteX114" fmla="*/ 265997 w 344587"/>
                <a:gd name="connsiteY114" fmla="*/ 234800 h 344988"/>
                <a:gd name="connsiteX115" fmla="*/ 269009 w 344587"/>
                <a:gd name="connsiteY115" fmla="*/ 230986 h 344988"/>
                <a:gd name="connsiteX116" fmla="*/ 273867 w 344587"/>
                <a:gd name="connsiteY116" fmla="*/ 231311 h 344988"/>
                <a:gd name="connsiteX117" fmla="*/ 271180 w 344587"/>
                <a:gd name="connsiteY117" fmla="*/ 227280 h 344988"/>
                <a:gd name="connsiteX118" fmla="*/ 272971 w 344587"/>
                <a:gd name="connsiteY118" fmla="*/ 222762 h 344988"/>
                <a:gd name="connsiteX119" fmla="*/ 268276 w 344587"/>
                <a:gd name="connsiteY119" fmla="*/ 224088 h 344988"/>
                <a:gd name="connsiteX120" fmla="*/ 80029 w 344587"/>
                <a:gd name="connsiteY120" fmla="*/ 220977 h 344988"/>
                <a:gd name="connsiteX121" fmla="*/ 76311 w 344587"/>
                <a:gd name="connsiteY121" fmla="*/ 224088 h 344988"/>
                <a:gd name="connsiteX122" fmla="*/ 71616 w 344587"/>
                <a:gd name="connsiteY122" fmla="*/ 222762 h 344988"/>
                <a:gd name="connsiteX123" fmla="*/ 73407 w 344587"/>
                <a:gd name="connsiteY123" fmla="*/ 227280 h 344988"/>
                <a:gd name="connsiteX124" fmla="*/ 70721 w 344587"/>
                <a:gd name="connsiteY124" fmla="*/ 231311 h 344988"/>
                <a:gd name="connsiteX125" fmla="*/ 75578 w 344587"/>
                <a:gd name="connsiteY125" fmla="*/ 230986 h 344988"/>
                <a:gd name="connsiteX126" fmla="*/ 78590 w 344587"/>
                <a:gd name="connsiteY126" fmla="*/ 234800 h 344988"/>
                <a:gd name="connsiteX127" fmla="*/ 79785 w 344587"/>
                <a:gd name="connsiteY127" fmla="*/ 230093 h 344988"/>
                <a:gd name="connsiteX128" fmla="*/ 84344 w 344587"/>
                <a:gd name="connsiteY128" fmla="*/ 228416 h 344988"/>
                <a:gd name="connsiteX129" fmla="*/ 80246 w 344587"/>
                <a:gd name="connsiteY129" fmla="*/ 225819 h 344988"/>
                <a:gd name="connsiteX130" fmla="*/ 271410 w 344587"/>
                <a:gd name="connsiteY130" fmla="*/ 204148 h 344988"/>
                <a:gd name="connsiteX131" fmla="*/ 272066 w 344587"/>
                <a:gd name="connsiteY131" fmla="*/ 208985 h 344988"/>
                <a:gd name="connsiteX132" fmla="*/ 268457 w 344587"/>
                <a:gd name="connsiteY132" fmla="*/ 212245 h 344988"/>
                <a:gd name="connsiteX133" fmla="*/ 273269 w 344587"/>
                <a:gd name="connsiteY133" fmla="*/ 213115 h 344988"/>
                <a:gd name="connsiteX134" fmla="*/ 275292 w 344587"/>
                <a:gd name="connsiteY134" fmla="*/ 217571 h 344988"/>
                <a:gd name="connsiteX135" fmla="*/ 277615 w 344587"/>
                <a:gd name="connsiteY135" fmla="*/ 213278 h 344988"/>
                <a:gd name="connsiteX136" fmla="*/ 282481 w 344587"/>
                <a:gd name="connsiteY136" fmla="*/ 212734 h 344988"/>
                <a:gd name="connsiteX137" fmla="*/ 279091 w 344587"/>
                <a:gd name="connsiteY137" fmla="*/ 209229 h 344988"/>
                <a:gd name="connsiteX138" fmla="*/ 280076 w 344587"/>
                <a:gd name="connsiteY138" fmla="*/ 204447 h 344988"/>
                <a:gd name="connsiteX139" fmla="*/ 275674 w 344587"/>
                <a:gd name="connsiteY139" fmla="*/ 206566 h 344988"/>
                <a:gd name="connsiteX140" fmla="*/ 73019 w 344587"/>
                <a:gd name="connsiteY140" fmla="*/ 204148 h 344988"/>
                <a:gd name="connsiteX141" fmla="*/ 68816 w 344587"/>
                <a:gd name="connsiteY141" fmla="*/ 206566 h 344988"/>
                <a:gd name="connsiteX142" fmla="*/ 64477 w 344587"/>
                <a:gd name="connsiteY142" fmla="*/ 204447 h 344988"/>
                <a:gd name="connsiteX143" fmla="*/ 65447 w 344587"/>
                <a:gd name="connsiteY143" fmla="*/ 209229 h 344988"/>
                <a:gd name="connsiteX144" fmla="*/ 62106 w 344587"/>
                <a:gd name="connsiteY144" fmla="*/ 212734 h 344988"/>
                <a:gd name="connsiteX145" fmla="*/ 66903 w 344587"/>
                <a:gd name="connsiteY145" fmla="*/ 213278 h 344988"/>
                <a:gd name="connsiteX146" fmla="*/ 69193 w 344587"/>
                <a:gd name="connsiteY146" fmla="*/ 217571 h 344988"/>
                <a:gd name="connsiteX147" fmla="*/ 71187 w 344587"/>
                <a:gd name="connsiteY147" fmla="*/ 213115 h 344988"/>
                <a:gd name="connsiteX148" fmla="*/ 75929 w 344587"/>
                <a:gd name="connsiteY148" fmla="*/ 212245 h 344988"/>
                <a:gd name="connsiteX149" fmla="*/ 72373 w 344587"/>
                <a:gd name="connsiteY149" fmla="*/ 208985 h 344988"/>
                <a:gd name="connsiteX150" fmla="*/ 283915 w 344587"/>
                <a:gd name="connsiteY150" fmla="*/ 185116 h 344988"/>
                <a:gd name="connsiteX151" fmla="*/ 279950 w 344587"/>
                <a:gd name="connsiteY151" fmla="*/ 187963 h 344988"/>
                <a:gd name="connsiteX152" fmla="*/ 275388 w 344587"/>
                <a:gd name="connsiteY152" fmla="*/ 186320 h 344988"/>
                <a:gd name="connsiteX153" fmla="*/ 276854 w 344587"/>
                <a:gd name="connsiteY153" fmla="*/ 191001 h 344988"/>
                <a:gd name="connsiteX154" fmla="*/ 273867 w 344587"/>
                <a:gd name="connsiteY154" fmla="*/ 194861 h 344988"/>
                <a:gd name="connsiteX155" fmla="*/ 278755 w 344587"/>
                <a:gd name="connsiteY155" fmla="*/ 194888 h 344988"/>
                <a:gd name="connsiteX156" fmla="*/ 281498 w 344587"/>
                <a:gd name="connsiteY156" fmla="*/ 198939 h 344988"/>
                <a:gd name="connsiteX157" fmla="*/ 283019 w 344587"/>
                <a:gd name="connsiteY157" fmla="*/ 194286 h 344988"/>
                <a:gd name="connsiteX158" fmla="*/ 287690 w 344587"/>
                <a:gd name="connsiteY158" fmla="*/ 192917 h 344988"/>
                <a:gd name="connsiteX159" fmla="*/ 283780 w 344587"/>
                <a:gd name="connsiteY159" fmla="*/ 190015 h 344988"/>
                <a:gd name="connsiteX160" fmla="*/ 60472 w 344587"/>
                <a:gd name="connsiteY160" fmla="*/ 185116 h 344988"/>
                <a:gd name="connsiteX161" fmla="*/ 60608 w 344587"/>
                <a:gd name="connsiteY161" fmla="*/ 190015 h 344988"/>
                <a:gd name="connsiteX162" fmla="*/ 56697 w 344587"/>
                <a:gd name="connsiteY162" fmla="*/ 192917 h 344988"/>
                <a:gd name="connsiteX163" fmla="*/ 61368 w 344587"/>
                <a:gd name="connsiteY163" fmla="*/ 194286 h 344988"/>
                <a:gd name="connsiteX164" fmla="*/ 62889 w 344587"/>
                <a:gd name="connsiteY164" fmla="*/ 198939 h 344988"/>
                <a:gd name="connsiteX165" fmla="*/ 65632 w 344587"/>
                <a:gd name="connsiteY165" fmla="*/ 194888 h 344988"/>
                <a:gd name="connsiteX166" fmla="*/ 70520 w 344587"/>
                <a:gd name="connsiteY166" fmla="*/ 194861 h 344988"/>
                <a:gd name="connsiteX167" fmla="*/ 67533 w 344587"/>
                <a:gd name="connsiteY167" fmla="*/ 191001 h 344988"/>
                <a:gd name="connsiteX168" fmla="*/ 68999 w 344587"/>
                <a:gd name="connsiteY168" fmla="*/ 186320 h 344988"/>
                <a:gd name="connsiteX169" fmla="*/ 64437 w 344587"/>
                <a:gd name="connsiteY169" fmla="*/ 187963 h 344988"/>
                <a:gd name="connsiteX170" fmla="*/ 284437 w 344587"/>
                <a:gd name="connsiteY170" fmla="*/ 165482 h 344988"/>
                <a:gd name="connsiteX171" fmla="*/ 281057 w 344587"/>
                <a:gd name="connsiteY171" fmla="*/ 168981 h 344988"/>
                <a:gd name="connsiteX172" fmla="*/ 276271 w 344587"/>
                <a:gd name="connsiteY172" fmla="*/ 168161 h 344988"/>
                <a:gd name="connsiteX173" fmla="*/ 278542 w 344587"/>
                <a:gd name="connsiteY173" fmla="*/ 172508 h 344988"/>
                <a:gd name="connsiteX174" fmla="*/ 276271 w 344587"/>
                <a:gd name="connsiteY174" fmla="*/ 176827 h 344988"/>
                <a:gd name="connsiteX175" fmla="*/ 281057 w 344587"/>
                <a:gd name="connsiteY175" fmla="*/ 176007 h 344988"/>
                <a:gd name="connsiteX176" fmla="*/ 284437 w 344587"/>
                <a:gd name="connsiteY176" fmla="*/ 179506 h 344988"/>
                <a:gd name="connsiteX177" fmla="*/ 285140 w 344587"/>
                <a:gd name="connsiteY177" fmla="*/ 174667 h 344988"/>
                <a:gd name="connsiteX178" fmla="*/ 289493 w 344587"/>
                <a:gd name="connsiteY178" fmla="*/ 172508 h 344988"/>
                <a:gd name="connsiteX179" fmla="*/ 285140 w 344587"/>
                <a:gd name="connsiteY179" fmla="*/ 170321 h 344988"/>
                <a:gd name="connsiteX180" fmla="*/ 60027 w 344587"/>
                <a:gd name="connsiteY180" fmla="*/ 165482 h 344988"/>
                <a:gd name="connsiteX181" fmla="*/ 59313 w 344587"/>
                <a:gd name="connsiteY181" fmla="*/ 170321 h 344988"/>
                <a:gd name="connsiteX182" fmla="*/ 54894 w 344587"/>
                <a:gd name="connsiteY182" fmla="*/ 172508 h 344988"/>
                <a:gd name="connsiteX183" fmla="*/ 59313 w 344587"/>
                <a:gd name="connsiteY183" fmla="*/ 174667 h 344988"/>
                <a:gd name="connsiteX184" fmla="*/ 60027 w 344587"/>
                <a:gd name="connsiteY184" fmla="*/ 179506 h 344988"/>
                <a:gd name="connsiteX185" fmla="*/ 63458 w 344587"/>
                <a:gd name="connsiteY185" fmla="*/ 176007 h 344988"/>
                <a:gd name="connsiteX186" fmla="*/ 68317 w 344587"/>
                <a:gd name="connsiteY186" fmla="*/ 176827 h 344988"/>
                <a:gd name="connsiteX187" fmla="*/ 66011 w 344587"/>
                <a:gd name="connsiteY187" fmla="*/ 172508 h 344988"/>
                <a:gd name="connsiteX188" fmla="*/ 68317 w 344587"/>
                <a:gd name="connsiteY188" fmla="*/ 168161 h 344988"/>
                <a:gd name="connsiteX189" fmla="*/ 63458 w 344587"/>
                <a:gd name="connsiteY189" fmla="*/ 168981 h 344988"/>
                <a:gd name="connsiteX190" fmla="*/ 281498 w 344587"/>
                <a:gd name="connsiteY190" fmla="*/ 146049 h 344988"/>
                <a:gd name="connsiteX191" fmla="*/ 278755 w 344587"/>
                <a:gd name="connsiteY191" fmla="*/ 150092 h 344988"/>
                <a:gd name="connsiteX192" fmla="*/ 273867 w 344587"/>
                <a:gd name="connsiteY192" fmla="*/ 150120 h 344988"/>
                <a:gd name="connsiteX193" fmla="*/ 276854 w 344587"/>
                <a:gd name="connsiteY193" fmla="*/ 153999 h 344988"/>
                <a:gd name="connsiteX194" fmla="*/ 275388 w 344587"/>
                <a:gd name="connsiteY194" fmla="*/ 158670 h 344988"/>
                <a:gd name="connsiteX195" fmla="*/ 279950 w 344587"/>
                <a:gd name="connsiteY195" fmla="*/ 157004 h 344988"/>
                <a:gd name="connsiteX196" fmla="*/ 283915 w 344587"/>
                <a:gd name="connsiteY196" fmla="*/ 159872 h 344988"/>
                <a:gd name="connsiteX197" fmla="*/ 283780 w 344587"/>
                <a:gd name="connsiteY197" fmla="*/ 154955 h 344988"/>
                <a:gd name="connsiteX198" fmla="*/ 287690 w 344587"/>
                <a:gd name="connsiteY198" fmla="*/ 152059 h 344988"/>
                <a:gd name="connsiteX199" fmla="*/ 283019 w 344587"/>
                <a:gd name="connsiteY199" fmla="*/ 150693 h 344988"/>
                <a:gd name="connsiteX200" fmla="*/ 62889 w 344587"/>
                <a:gd name="connsiteY200" fmla="*/ 146049 h 344988"/>
                <a:gd name="connsiteX201" fmla="*/ 61368 w 344587"/>
                <a:gd name="connsiteY201" fmla="*/ 150693 h 344988"/>
                <a:gd name="connsiteX202" fmla="*/ 56697 w 344587"/>
                <a:gd name="connsiteY202" fmla="*/ 152059 h 344988"/>
                <a:gd name="connsiteX203" fmla="*/ 60608 w 344587"/>
                <a:gd name="connsiteY203" fmla="*/ 154955 h 344988"/>
                <a:gd name="connsiteX204" fmla="*/ 60472 w 344587"/>
                <a:gd name="connsiteY204" fmla="*/ 159872 h 344988"/>
                <a:gd name="connsiteX205" fmla="*/ 64437 w 344587"/>
                <a:gd name="connsiteY205" fmla="*/ 157004 h 344988"/>
                <a:gd name="connsiteX206" fmla="*/ 68999 w 344587"/>
                <a:gd name="connsiteY206" fmla="*/ 158670 h 344988"/>
                <a:gd name="connsiteX207" fmla="*/ 67533 w 344587"/>
                <a:gd name="connsiteY207" fmla="*/ 153999 h 344988"/>
                <a:gd name="connsiteX208" fmla="*/ 70520 w 344587"/>
                <a:gd name="connsiteY208" fmla="*/ 150120 h 344988"/>
                <a:gd name="connsiteX209" fmla="*/ 65632 w 344587"/>
                <a:gd name="connsiteY209" fmla="*/ 150092 h 344988"/>
                <a:gd name="connsiteX210" fmla="*/ 275292 w 344587"/>
                <a:gd name="connsiteY210" fmla="*/ 127618 h 344988"/>
                <a:gd name="connsiteX211" fmla="*/ 273269 w 344587"/>
                <a:gd name="connsiteY211" fmla="*/ 132007 h 344988"/>
                <a:gd name="connsiteX212" fmla="*/ 268457 w 344587"/>
                <a:gd name="connsiteY212" fmla="*/ 132864 h 344988"/>
                <a:gd name="connsiteX213" fmla="*/ 272066 w 344587"/>
                <a:gd name="connsiteY213" fmla="*/ 136103 h 344988"/>
                <a:gd name="connsiteX214" fmla="*/ 271410 w 344587"/>
                <a:gd name="connsiteY214" fmla="*/ 140840 h 344988"/>
                <a:gd name="connsiteX215" fmla="*/ 275674 w 344587"/>
                <a:gd name="connsiteY215" fmla="*/ 138458 h 344988"/>
                <a:gd name="connsiteX216" fmla="*/ 280076 w 344587"/>
                <a:gd name="connsiteY216" fmla="*/ 140546 h 344988"/>
                <a:gd name="connsiteX217" fmla="*/ 279091 w 344587"/>
                <a:gd name="connsiteY217" fmla="*/ 135862 h 344988"/>
                <a:gd name="connsiteX218" fmla="*/ 282481 w 344587"/>
                <a:gd name="connsiteY218" fmla="*/ 132382 h 344988"/>
                <a:gd name="connsiteX219" fmla="*/ 277615 w 344587"/>
                <a:gd name="connsiteY219" fmla="*/ 131847 h 344988"/>
                <a:gd name="connsiteX220" fmla="*/ 69193 w 344587"/>
                <a:gd name="connsiteY220" fmla="*/ 127618 h 344988"/>
                <a:gd name="connsiteX221" fmla="*/ 66903 w 344587"/>
                <a:gd name="connsiteY221" fmla="*/ 131847 h 344988"/>
                <a:gd name="connsiteX222" fmla="*/ 62106 w 344587"/>
                <a:gd name="connsiteY222" fmla="*/ 132382 h 344988"/>
                <a:gd name="connsiteX223" fmla="*/ 65447 w 344587"/>
                <a:gd name="connsiteY223" fmla="*/ 135862 h 344988"/>
                <a:gd name="connsiteX224" fmla="*/ 64477 w 344587"/>
                <a:gd name="connsiteY224" fmla="*/ 140546 h 344988"/>
                <a:gd name="connsiteX225" fmla="*/ 68816 w 344587"/>
                <a:gd name="connsiteY225" fmla="*/ 138458 h 344988"/>
                <a:gd name="connsiteX226" fmla="*/ 73019 w 344587"/>
                <a:gd name="connsiteY226" fmla="*/ 140840 h 344988"/>
                <a:gd name="connsiteX227" fmla="*/ 72373 w 344587"/>
                <a:gd name="connsiteY227" fmla="*/ 136103 h 344988"/>
                <a:gd name="connsiteX228" fmla="*/ 75929 w 344587"/>
                <a:gd name="connsiteY228" fmla="*/ 132864 h 344988"/>
                <a:gd name="connsiteX229" fmla="*/ 71187 w 344587"/>
                <a:gd name="connsiteY229" fmla="*/ 132007 h 344988"/>
                <a:gd name="connsiteX230" fmla="*/ 265997 w 344587"/>
                <a:gd name="connsiteY230" fmla="*/ 110188 h 344988"/>
                <a:gd name="connsiteX231" fmla="*/ 264803 w 344587"/>
                <a:gd name="connsiteY231" fmla="*/ 114963 h 344988"/>
                <a:gd name="connsiteX232" fmla="*/ 260243 w 344587"/>
                <a:gd name="connsiteY232" fmla="*/ 116665 h 344988"/>
                <a:gd name="connsiteX233" fmla="*/ 264341 w 344587"/>
                <a:gd name="connsiteY233" fmla="*/ 119299 h 344988"/>
                <a:gd name="connsiteX234" fmla="*/ 264558 w 344587"/>
                <a:gd name="connsiteY234" fmla="*/ 124212 h 344988"/>
                <a:gd name="connsiteX235" fmla="*/ 268276 w 344587"/>
                <a:gd name="connsiteY235" fmla="*/ 121083 h 344988"/>
                <a:gd name="connsiteX236" fmla="*/ 272971 w 344587"/>
                <a:gd name="connsiteY236" fmla="*/ 122401 h 344988"/>
                <a:gd name="connsiteX237" fmla="*/ 271180 w 344587"/>
                <a:gd name="connsiteY237" fmla="*/ 117845 h 344988"/>
                <a:gd name="connsiteX238" fmla="*/ 273867 w 344587"/>
                <a:gd name="connsiteY238" fmla="*/ 113756 h 344988"/>
                <a:gd name="connsiteX239" fmla="*/ 269009 w 344587"/>
                <a:gd name="connsiteY239" fmla="*/ 114057 h 344988"/>
                <a:gd name="connsiteX240" fmla="*/ 78590 w 344587"/>
                <a:gd name="connsiteY240" fmla="*/ 110188 h 344988"/>
                <a:gd name="connsiteX241" fmla="*/ 75578 w 344587"/>
                <a:gd name="connsiteY241" fmla="*/ 114057 h 344988"/>
                <a:gd name="connsiteX242" fmla="*/ 70721 w 344587"/>
                <a:gd name="connsiteY242" fmla="*/ 113756 h 344988"/>
                <a:gd name="connsiteX243" fmla="*/ 73407 w 344587"/>
                <a:gd name="connsiteY243" fmla="*/ 117845 h 344988"/>
                <a:gd name="connsiteX244" fmla="*/ 71616 w 344587"/>
                <a:gd name="connsiteY244" fmla="*/ 122401 h 344988"/>
                <a:gd name="connsiteX245" fmla="*/ 76311 w 344587"/>
                <a:gd name="connsiteY245" fmla="*/ 121083 h 344988"/>
                <a:gd name="connsiteX246" fmla="*/ 80029 w 344587"/>
                <a:gd name="connsiteY246" fmla="*/ 124212 h 344988"/>
                <a:gd name="connsiteX247" fmla="*/ 80246 w 344587"/>
                <a:gd name="connsiteY247" fmla="*/ 119299 h 344988"/>
                <a:gd name="connsiteX248" fmla="*/ 84344 w 344587"/>
                <a:gd name="connsiteY248" fmla="*/ 116665 h 344988"/>
                <a:gd name="connsiteX249" fmla="*/ 79785 w 344587"/>
                <a:gd name="connsiteY249" fmla="*/ 114963 h 344988"/>
                <a:gd name="connsiteX250" fmla="*/ 172293 w 344587"/>
                <a:gd name="connsiteY250" fmla="*/ 107507 h 344988"/>
                <a:gd name="connsiteX251" fmla="*/ 164742 w 344587"/>
                <a:gd name="connsiteY251" fmla="*/ 112163 h 344988"/>
                <a:gd name="connsiteX252" fmla="*/ 148477 w 344587"/>
                <a:gd name="connsiteY252" fmla="*/ 145335 h 344988"/>
                <a:gd name="connsiteX253" fmla="*/ 111881 w 344587"/>
                <a:gd name="connsiteY253" fmla="*/ 150766 h 344988"/>
                <a:gd name="connsiteX254" fmla="*/ 104910 w 344587"/>
                <a:gd name="connsiteY254" fmla="*/ 156392 h 344988"/>
                <a:gd name="connsiteX255" fmla="*/ 107234 w 344587"/>
                <a:gd name="connsiteY255" fmla="*/ 165121 h 344988"/>
                <a:gd name="connsiteX256" fmla="*/ 133567 w 344587"/>
                <a:gd name="connsiteY256" fmla="*/ 190922 h 344988"/>
                <a:gd name="connsiteX257" fmla="*/ 127371 w 344587"/>
                <a:gd name="connsiteY257" fmla="*/ 227392 h 344988"/>
                <a:gd name="connsiteX258" fmla="*/ 130663 w 344587"/>
                <a:gd name="connsiteY258" fmla="*/ 235733 h 344988"/>
                <a:gd name="connsiteX259" fmla="*/ 135697 w 344587"/>
                <a:gd name="connsiteY259" fmla="*/ 237479 h 344988"/>
                <a:gd name="connsiteX260" fmla="*/ 139570 w 344587"/>
                <a:gd name="connsiteY260" fmla="*/ 236509 h 344988"/>
                <a:gd name="connsiteX261" fmla="*/ 172293 w 344587"/>
                <a:gd name="connsiteY261" fmla="*/ 219244 h 344988"/>
                <a:gd name="connsiteX262" fmla="*/ 205016 w 344587"/>
                <a:gd name="connsiteY262" fmla="*/ 236509 h 344988"/>
                <a:gd name="connsiteX263" fmla="*/ 209083 w 344587"/>
                <a:gd name="connsiteY263" fmla="*/ 237479 h 344988"/>
                <a:gd name="connsiteX264" fmla="*/ 213923 w 344587"/>
                <a:gd name="connsiteY264" fmla="*/ 235733 h 344988"/>
                <a:gd name="connsiteX265" fmla="*/ 217409 w 344587"/>
                <a:gd name="connsiteY265" fmla="*/ 227392 h 344988"/>
                <a:gd name="connsiteX266" fmla="*/ 211213 w 344587"/>
                <a:gd name="connsiteY266" fmla="*/ 190922 h 344988"/>
                <a:gd name="connsiteX267" fmla="*/ 237546 w 344587"/>
                <a:gd name="connsiteY267" fmla="*/ 165121 h 344988"/>
                <a:gd name="connsiteX268" fmla="*/ 239676 w 344587"/>
                <a:gd name="connsiteY268" fmla="*/ 156392 h 344988"/>
                <a:gd name="connsiteX269" fmla="*/ 232899 w 344587"/>
                <a:gd name="connsiteY269" fmla="*/ 150766 h 344988"/>
                <a:gd name="connsiteX270" fmla="*/ 196303 w 344587"/>
                <a:gd name="connsiteY270" fmla="*/ 145335 h 344988"/>
                <a:gd name="connsiteX271" fmla="*/ 180038 w 344587"/>
                <a:gd name="connsiteY271" fmla="*/ 112163 h 344988"/>
                <a:gd name="connsiteX272" fmla="*/ 172293 w 344587"/>
                <a:gd name="connsiteY272" fmla="*/ 107507 h 344988"/>
                <a:gd name="connsiteX273" fmla="*/ 253771 w 344587"/>
                <a:gd name="connsiteY273" fmla="*/ 94962 h 344988"/>
                <a:gd name="connsiteX274" fmla="*/ 253394 w 344587"/>
                <a:gd name="connsiteY274" fmla="*/ 99795 h 344988"/>
                <a:gd name="connsiteX275" fmla="*/ 249225 w 344587"/>
                <a:gd name="connsiteY275" fmla="*/ 102225 h 344988"/>
                <a:gd name="connsiteX276" fmla="*/ 253690 w 344587"/>
                <a:gd name="connsiteY276" fmla="*/ 104061 h 344988"/>
                <a:gd name="connsiteX277" fmla="*/ 254712 w 344587"/>
                <a:gd name="connsiteY277" fmla="*/ 108785 h 344988"/>
                <a:gd name="connsiteX278" fmla="*/ 257833 w 344587"/>
                <a:gd name="connsiteY278" fmla="*/ 105114 h 344988"/>
                <a:gd name="connsiteX279" fmla="*/ 262648 w 344587"/>
                <a:gd name="connsiteY279" fmla="*/ 105573 h 344988"/>
                <a:gd name="connsiteX280" fmla="*/ 260119 w 344587"/>
                <a:gd name="connsiteY280" fmla="*/ 101469 h 344988"/>
                <a:gd name="connsiteX281" fmla="*/ 262056 w 344587"/>
                <a:gd name="connsiteY281" fmla="*/ 97041 h 344988"/>
                <a:gd name="connsiteX282" fmla="*/ 257348 w 344587"/>
                <a:gd name="connsiteY282" fmla="*/ 98175 h 344988"/>
                <a:gd name="connsiteX283" fmla="*/ 90749 w 344587"/>
                <a:gd name="connsiteY283" fmla="*/ 94962 h 344988"/>
                <a:gd name="connsiteX284" fmla="*/ 87118 w 344587"/>
                <a:gd name="connsiteY284" fmla="*/ 98175 h 344988"/>
                <a:gd name="connsiteX285" fmla="*/ 82340 w 344587"/>
                <a:gd name="connsiteY285" fmla="*/ 97041 h 344988"/>
                <a:gd name="connsiteX286" fmla="*/ 84333 w 344587"/>
                <a:gd name="connsiteY286" fmla="*/ 101469 h 344988"/>
                <a:gd name="connsiteX287" fmla="*/ 81739 w 344587"/>
                <a:gd name="connsiteY287" fmla="*/ 105573 h 344988"/>
                <a:gd name="connsiteX288" fmla="*/ 86626 w 344587"/>
                <a:gd name="connsiteY288" fmla="*/ 105114 h 344988"/>
                <a:gd name="connsiteX289" fmla="*/ 89793 w 344587"/>
                <a:gd name="connsiteY289" fmla="*/ 108785 h 344988"/>
                <a:gd name="connsiteX290" fmla="*/ 90831 w 344587"/>
                <a:gd name="connsiteY290" fmla="*/ 104061 h 344988"/>
                <a:gd name="connsiteX291" fmla="*/ 95363 w 344587"/>
                <a:gd name="connsiteY291" fmla="*/ 102225 h 344988"/>
                <a:gd name="connsiteX292" fmla="*/ 91131 w 344587"/>
                <a:gd name="connsiteY292" fmla="*/ 99795 h 344988"/>
                <a:gd name="connsiteX293" fmla="*/ 239015 w 344587"/>
                <a:gd name="connsiteY293" fmla="*/ 81940 h 344988"/>
                <a:gd name="connsiteX294" fmla="*/ 239501 w 344587"/>
                <a:gd name="connsiteY294" fmla="*/ 86827 h 344988"/>
                <a:gd name="connsiteX295" fmla="*/ 235802 w 344587"/>
                <a:gd name="connsiteY295" fmla="*/ 89993 h 344988"/>
                <a:gd name="connsiteX296" fmla="*/ 240527 w 344587"/>
                <a:gd name="connsiteY296" fmla="*/ 91031 h 344988"/>
                <a:gd name="connsiteX297" fmla="*/ 242363 w 344587"/>
                <a:gd name="connsiteY297" fmla="*/ 95563 h 344988"/>
                <a:gd name="connsiteX298" fmla="*/ 244792 w 344587"/>
                <a:gd name="connsiteY298" fmla="*/ 91331 h 344988"/>
                <a:gd name="connsiteX299" fmla="*/ 249625 w 344587"/>
                <a:gd name="connsiteY299" fmla="*/ 90976 h 344988"/>
                <a:gd name="connsiteX300" fmla="*/ 246413 w 344587"/>
                <a:gd name="connsiteY300" fmla="*/ 87318 h 344988"/>
                <a:gd name="connsiteX301" fmla="*/ 247546 w 344587"/>
                <a:gd name="connsiteY301" fmla="*/ 82568 h 344988"/>
                <a:gd name="connsiteX302" fmla="*/ 243119 w 344587"/>
                <a:gd name="connsiteY302" fmla="*/ 84533 h 344988"/>
                <a:gd name="connsiteX303" fmla="*/ 105372 w 344587"/>
                <a:gd name="connsiteY303" fmla="*/ 81940 h 344988"/>
                <a:gd name="connsiteX304" fmla="*/ 101268 w 344587"/>
                <a:gd name="connsiteY304" fmla="*/ 84533 h 344988"/>
                <a:gd name="connsiteX305" fmla="*/ 96841 w 344587"/>
                <a:gd name="connsiteY305" fmla="*/ 82568 h 344988"/>
                <a:gd name="connsiteX306" fmla="*/ 97975 w 344587"/>
                <a:gd name="connsiteY306" fmla="*/ 87318 h 344988"/>
                <a:gd name="connsiteX307" fmla="*/ 94762 w 344587"/>
                <a:gd name="connsiteY307" fmla="*/ 90976 h 344988"/>
                <a:gd name="connsiteX308" fmla="*/ 99594 w 344587"/>
                <a:gd name="connsiteY308" fmla="*/ 91331 h 344988"/>
                <a:gd name="connsiteX309" fmla="*/ 102024 w 344587"/>
                <a:gd name="connsiteY309" fmla="*/ 95563 h 344988"/>
                <a:gd name="connsiteX310" fmla="*/ 103860 w 344587"/>
                <a:gd name="connsiteY310" fmla="*/ 91031 h 344988"/>
                <a:gd name="connsiteX311" fmla="*/ 108585 w 344587"/>
                <a:gd name="connsiteY311" fmla="*/ 89993 h 344988"/>
                <a:gd name="connsiteX312" fmla="*/ 104886 w 344587"/>
                <a:gd name="connsiteY312" fmla="*/ 86827 h 344988"/>
                <a:gd name="connsiteX313" fmla="*/ 230910 w 344587"/>
                <a:gd name="connsiteY313" fmla="*/ 70720 h 344988"/>
                <a:gd name="connsiteX314" fmla="*/ 226879 w 344587"/>
                <a:gd name="connsiteY314" fmla="*/ 73474 h 344988"/>
                <a:gd name="connsiteX315" fmla="*/ 222361 w 344587"/>
                <a:gd name="connsiteY315" fmla="*/ 71629 h 344988"/>
                <a:gd name="connsiteX316" fmla="*/ 223687 w 344587"/>
                <a:gd name="connsiteY316" fmla="*/ 76393 h 344988"/>
                <a:gd name="connsiteX317" fmla="*/ 220576 w 344587"/>
                <a:gd name="connsiteY317" fmla="*/ 80193 h 344988"/>
                <a:gd name="connsiteX318" fmla="*/ 225418 w 344587"/>
                <a:gd name="connsiteY318" fmla="*/ 80386 h 344988"/>
                <a:gd name="connsiteX319" fmla="*/ 228015 w 344587"/>
                <a:gd name="connsiteY319" fmla="*/ 84544 h 344988"/>
                <a:gd name="connsiteX320" fmla="*/ 229692 w 344587"/>
                <a:gd name="connsiteY320" fmla="*/ 79918 h 344988"/>
                <a:gd name="connsiteX321" fmla="*/ 234399 w 344587"/>
                <a:gd name="connsiteY321" fmla="*/ 78706 h 344988"/>
                <a:gd name="connsiteX322" fmla="*/ 230585 w 344587"/>
                <a:gd name="connsiteY322" fmla="*/ 75650 h 344988"/>
                <a:gd name="connsiteX323" fmla="*/ 113678 w 344587"/>
                <a:gd name="connsiteY323" fmla="*/ 70720 h 344988"/>
                <a:gd name="connsiteX324" fmla="*/ 114002 w 344587"/>
                <a:gd name="connsiteY324" fmla="*/ 75650 h 344988"/>
                <a:gd name="connsiteX325" fmla="*/ 110188 w 344587"/>
                <a:gd name="connsiteY325" fmla="*/ 78706 h 344988"/>
                <a:gd name="connsiteX326" fmla="*/ 114895 w 344587"/>
                <a:gd name="connsiteY326" fmla="*/ 79918 h 344988"/>
                <a:gd name="connsiteX327" fmla="*/ 116572 w 344587"/>
                <a:gd name="connsiteY327" fmla="*/ 84544 h 344988"/>
                <a:gd name="connsiteX328" fmla="*/ 119169 w 344587"/>
                <a:gd name="connsiteY328" fmla="*/ 80386 h 344988"/>
                <a:gd name="connsiteX329" fmla="*/ 124011 w 344587"/>
                <a:gd name="connsiteY329" fmla="*/ 80193 h 344988"/>
                <a:gd name="connsiteX330" fmla="*/ 120900 w 344587"/>
                <a:gd name="connsiteY330" fmla="*/ 76393 h 344988"/>
                <a:gd name="connsiteX331" fmla="*/ 122226 w 344587"/>
                <a:gd name="connsiteY331" fmla="*/ 71629 h 344988"/>
                <a:gd name="connsiteX332" fmla="*/ 117708 w 344587"/>
                <a:gd name="connsiteY332" fmla="*/ 73474 h 344988"/>
                <a:gd name="connsiteX333" fmla="*/ 212334 w 344587"/>
                <a:gd name="connsiteY333" fmla="*/ 62106 h 344988"/>
                <a:gd name="connsiteX334" fmla="*/ 208828 w 344587"/>
                <a:gd name="connsiteY334" fmla="*/ 65489 h 344988"/>
                <a:gd name="connsiteX335" fmla="*/ 204046 w 344587"/>
                <a:gd name="connsiteY335" fmla="*/ 64507 h 344988"/>
                <a:gd name="connsiteX336" fmla="*/ 206165 w 344587"/>
                <a:gd name="connsiteY336" fmla="*/ 68900 h 344988"/>
                <a:gd name="connsiteX337" fmla="*/ 203747 w 344587"/>
                <a:gd name="connsiteY337" fmla="*/ 73156 h 344988"/>
                <a:gd name="connsiteX338" fmla="*/ 208584 w 344587"/>
                <a:gd name="connsiteY338" fmla="*/ 72501 h 344988"/>
                <a:gd name="connsiteX339" fmla="*/ 211844 w 344587"/>
                <a:gd name="connsiteY339" fmla="*/ 76130 h 344988"/>
                <a:gd name="connsiteX340" fmla="*/ 212714 w 344587"/>
                <a:gd name="connsiteY340" fmla="*/ 71301 h 344988"/>
                <a:gd name="connsiteX341" fmla="*/ 217170 w 344587"/>
                <a:gd name="connsiteY341" fmla="*/ 69282 h 344988"/>
                <a:gd name="connsiteX342" fmla="*/ 212877 w 344587"/>
                <a:gd name="connsiteY342" fmla="*/ 66962 h 344988"/>
                <a:gd name="connsiteX343" fmla="*/ 132182 w 344587"/>
                <a:gd name="connsiteY343" fmla="*/ 62106 h 344988"/>
                <a:gd name="connsiteX344" fmla="*/ 131646 w 344587"/>
                <a:gd name="connsiteY344" fmla="*/ 66962 h 344988"/>
                <a:gd name="connsiteX345" fmla="*/ 127417 w 344587"/>
                <a:gd name="connsiteY345" fmla="*/ 69282 h 344988"/>
                <a:gd name="connsiteX346" fmla="*/ 131807 w 344587"/>
                <a:gd name="connsiteY346" fmla="*/ 71301 h 344988"/>
                <a:gd name="connsiteX347" fmla="*/ 132663 w 344587"/>
                <a:gd name="connsiteY347" fmla="*/ 76130 h 344988"/>
                <a:gd name="connsiteX348" fmla="*/ 135875 w 344587"/>
                <a:gd name="connsiteY348" fmla="*/ 72501 h 344988"/>
                <a:gd name="connsiteX349" fmla="*/ 140640 w 344587"/>
                <a:gd name="connsiteY349" fmla="*/ 73156 h 344988"/>
                <a:gd name="connsiteX350" fmla="*/ 138258 w 344587"/>
                <a:gd name="connsiteY350" fmla="*/ 68900 h 344988"/>
                <a:gd name="connsiteX351" fmla="*/ 140345 w 344587"/>
                <a:gd name="connsiteY351" fmla="*/ 64507 h 344988"/>
                <a:gd name="connsiteX352" fmla="*/ 135635 w 344587"/>
                <a:gd name="connsiteY352" fmla="*/ 65489 h 344988"/>
                <a:gd name="connsiteX353" fmla="*/ 192615 w 344587"/>
                <a:gd name="connsiteY353" fmla="*/ 56897 h 344988"/>
                <a:gd name="connsiteX354" fmla="*/ 189761 w 344587"/>
                <a:gd name="connsiteY354" fmla="*/ 60835 h 344988"/>
                <a:gd name="connsiteX355" fmla="*/ 184915 w 344587"/>
                <a:gd name="connsiteY355" fmla="*/ 60672 h 344988"/>
                <a:gd name="connsiteX356" fmla="*/ 187742 w 344587"/>
                <a:gd name="connsiteY356" fmla="*/ 64637 h 344988"/>
                <a:gd name="connsiteX357" fmla="*/ 186127 w 344587"/>
                <a:gd name="connsiteY357" fmla="*/ 69227 h 344988"/>
                <a:gd name="connsiteX358" fmla="*/ 190704 w 344587"/>
                <a:gd name="connsiteY358" fmla="*/ 67733 h 344988"/>
                <a:gd name="connsiteX359" fmla="*/ 194527 w 344587"/>
                <a:gd name="connsiteY359" fmla="*/ 70720 h 344988"/>
                <a:gd name="connsiteX360" fmla="*/ 194554 w 344587"/>
                <a:gd name="connsiteY360" fmla="*/ 65832 h 344988"/>
                <a:gd name="connsiteX361" fmla="*/ 198538 w 344587"/>
                <a:gd name="connsiteY361" fmla="*/ 63089 h 344988"/>
                <a:gd name="connsiteX362" fmla="*/ 193961 w 344587"/>
                <a:gd name="connsiteY362" fmla="*/ 61568 h 344988"/>
                <a:gd name="connsiteX363" fmla="*/ 151859 w 344587"/>
                <a:gd name="connsiteY363" fmla="*/ 56897 h 344988"/>
                <a:gd name="connsiteX364" fmla="*/ 150493 w 344587"/>
                <a:gd name="connsiteY364" fmla="*/ 61568 h 344988"/>
                <a:gd name="connsiteX365" fmla="*/ 145849 w 344587"/>
                <a:gd name="connsiteY365" fmla="*/ 63089 h 344988"/>
                <a:gd name="connsiteX366" fmla="*/ 149892 w 344587"/>
                <a:gd name="connsiteY366" fmla="*/ 65832 h 344988"/>
                <a:gd name="connsiteX367" fmla="*/ 149919 w 344587"/>
                <a:gd name="connsiteY367" fmla="*/ 70720 h 344988"/>
                <a:gd name="connsiteX368" fmla="*/ 153798 w 344587"/>
                <a:gd name="connsiteY368" fmla="*/ 67733 h 344988"/>
                <a:gd name="connsiteX369" fmla="*/ 158443 w 344587"/>
                <a:gd name="connsiteY369" fmla="*/ 69227 h 344988"/>
                <a:gd name="connsiteX370" fmla="*/ 156804 w 344587"/>
                <a:gd name="connsiteY370" fmla="*/ 64637 h 344988"/>
                <a:gd name="connsiteX371" fmla="*/ 159672 w 344587"/>
                <a:gd name="connsiteY371" fmla="*/ 60672 h 344988"/>
                <a:gd name="connsiteX372" fmla="*/ 154755 w 344587"/>
                <a:gd name="connsiteY372" fmla="*/ 60835 h 344988"/>
                <a:gd name="connsiteX373" fmla="*/ 172307 w 344587"/>
                <a:gd name="connsiteY373" fmla="*/ 55094 h 344988"/>
                <a:gd name="connsiteX374" fmla="*/ 170121 w 344587"/>
                <a:gd name="connsiteY374" fmla="*/ 59447 h 344988"/>
                <a:gd name="connsiteX375" fmla="*/ 165282 w 344587"/>
                <a:gd name="connsiteY375" fmla="*/ 60150 h 344988"/>
                <a:gd name="connsiteX376" fmla="*/ 168781 w 344587"/>
                <a:gd name="connsiteY376" fmla="*/ 63530 h 344988"/>
                <a:gd name="connsiteX377" fmla="*/ 167961 w 344587"/>
                <a:gd name="connsiteY377" fmla="*/ 68316 h 344988"/>
                <a:gd name="connsiteX378" fmla="*/ 172307 w 344587"/>
                <a:gd name="connsiteY378" fmla="*/ 66045 h 344988"/>
                <a:gd name="connsiteX379" fmla="*/ 176627 w 344587"/>
                <a:gd name="connsiteY379" fmla="*/ 68316 h 344988"/>
                <a:gd name="connsiteX380" fmla="*/ 175806 w 344587"/>
                <a:gd name="connsiteY380" fmla="*/ 63530 h 344988"/>
                <a:gd name="connsiteX381" fmla="*/ 179306 w 344587"/>
                <a:gd name="connsiteY381" fmla="*/ 60150 h 344988"/>
                <a:gd name="connsiteX382" fmla="*/ 174467 w 344587"/>
                <a:gd name="connsiteY382" fmla="*/ 59447 h 344988"/>
                <a:gd name="connsiteX383" fmla="*/ 171615 w 344587"/>
                <a:gd name="connsiteY383" fmla="*/ 48293 h 344988"/>
                <a:gd name="connsiteX384" fmla="*/ 293719 w 344587"/>
                <a:gd name="connsiteY384" fmla="*/ 170398 h 344988"/>
                <a:gd name="connsiteX385" fmla="*/ 171615 w 344587"/>
                <a:gd name="connsiteY385" fmla="*/ 292503 h 344988"/>
                <a:gd name="connsiteX386" fmla="*/ 49510 w 344587"/>
                <a:gd name="connsiteY386" fmla="*/ 170398 h 344988"/>
                <a:gd name="connsiteX387" fmla="*/ 171615 w 344587"/>
                <a:gd name="connsiteY387" fmla="*/ 48293 h 344988"/>
                <a:gd name="connsiteX388" fmla="*/ 171615 w 344587"/>
                <a:gd name="connsiteY388" fmla="*/ 34348 h 344988"/>
                <a:gd name="connsiteX389" fmla="*/ 35565 w 344587"/>
                <a:gd name="connsiteY389" fmla="*/ 170398 h 344988"/>
                <a:gd name="connsiteX390" fmla="*/ 171615 w 344587"/>
                <a:gd name="connsiteY390" fmla="*/ 306448 h 344988"/>
                <a:gd name="connsiteX391" fmla="*/ 307665 w 344587"/>
                <a:gd name="connsiteY391" fmla="*/ 170398 h 344988"/>
                <a:gd name="connsiteX392" fmla="*/ 171615 w 344587"/>
                <a:gd name="connsiteY392" fmla="*/ 34348 h 344988"/>
                <a:gd name="connsiteX393" fmla="*/ 172307 w 344587"/>
                <a:gd name="connsiteY393" fmla="*/ 0 h 344988"/>
                <a:gd name="connsiteX394" fmla="*/ 212700 w 344587"/>
                <a:gd name="connsiteY394" fmla="*/ 21468 h 344988"/>
                <a:gd name="connsiteX395" fmla="*/ 258434 w 344587"/>
                <a:gd name="connsiteY395" fmla="*/ 23124 h 344988"/>
                <a:gd name="connsiteX396" fmla="*/ 282724 w 344587"/>
                <a:gd name="connsiteY396" fmla="*/ 61936 h 344988"/>
                <a:gd name="connsiteX397" fmla="*/ 321490 w 344587"/>
                <a:gd name="connsiteY397" fmla="*/ 86254 h 344988"/>
                <a:gd name="connsiteX398" fmla="*/ 323144 w 344587"/>
                <a:gd name="connsiteY398" fmla="*/ 132040 h 344988"/>
                <a:gd name="connsiteX399" fmla="*/ 344587 w 344587"/>
                <a:gd name="connsiteY399" fmla="*/ 172508 h 344988"/>
                <a:gd name="connsiteX400" fmla="*/ 323144 w 344587"/>
                <a:gd name="connsiteY400" fmla="*/ 212975 h 344988"/>
                <a:gd name="connsiteX401" fmla="*/ 321490 w 344587"/>
                <a:gd name="connsiteY401" fmla="*/ 258734 h 344988"/>
                <a:gd name="connsiteX402" fmla="*/ 282724 w 344587"/>
                <a:gd name="connsiteY402" fmla="*/ 283052 h 344988"/>
                <a:gd name="connsiteX403" fmla="*/ 258434 w 344587"/>
                <a:gd name="connsiteY403" fmla="*/ 321891 h 344988"/>
                <a:gd name="connsiteX404" fmla="*/ 212700 w 344587"/>
                <a:gd name="connsiteY404" fmla="*/ 323520 h 344988"/>
                <a:gd name="connsiteX405" fmla="*/ 172307 w 344587"/>
                <a:gd name="connsiteY405" fmla="*/ 344988 h 344988"/>
                <a:gd name="connsiteX406" fmla="*/ 131887 w 344587"/>
                <a:gd name="connsiteY406" fmla="*/ 323520 h 344988"/>
                <a:gd name="connsiteX407" fmla="*/ 86154 w 344587"/>
                <a:gd name="connsiteY407" fmla="*/ 321891 h 344988"/>
                <a:gd name="connsiteX408" fmla="*/ 61864 w 344587"/>
                <a:gd name="connsiteY408" fmla="*/ 283052 h 344988"/>
                <a:gd name="connsiteX409" fmla="*/ 23097 w 344587"/>
                <a:gd name="connsiteY409" fmla="*/ 258734 h 344988"/>
                <a:gd name="connsiteX410" fmla="*/ 21444 w 344587"/>
                <a:gd name="connsiteY410" fmla="*/ 212975 h 344988"/>
                <a:gd name="connsiteX411" fmla="*/ 0 w 344587"/>
                <a:gd name="connsiteY411" fmla="*/ 172508 h 344988"/>
                <a:gd name="connsiteX412" fmla="*/ 21444 w 344587"/>
                <a:gd name="connsiteY412" fmla="*/ 132040 h 344988"/>
                <a:gd name="connsiteX413" fmla="*/ 23097 w 344587"/>
                <a:gd name="connsiteY413" fmla="*/ 86254 h 344988"/>
                <a:gd name="connsiteX414" fmla="*/ 61864 w 344587"/>
                <a:gd name="connsiteY414" fmla="*/ 61936 h 344988"/>
                <a:gd name="connsiteX415" fmla="*/ 86154 w 344587"/>
                <a:gd name="connsiteY415" fmla="*/ 23124 h 344988"/>
                <a:gd name="connsiteX416" fmla="*/ 131887 w 344587"/>
                <a:gd name="connsiteY416" fmla="*/ 21468 h 344988"/>
                <a:gd name="connsiteX417" fmla="*/ 172307 w 344587"/>
                <a:gd name="connsiteY417" fmla="*/ 0 h 34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44587" h="344988">
                  <a:moveTo>
                    <a:pt x="167961" y="276672"/>
                  </a:moveTo>
                  <a:lnTo>
                    <a:pt x="168781" y="281441"/>
                  </a:lnTo>
                  <a:lnTo>
                    <a:pt x="165282" y="284827"/>
                  </a:lnTo>
                  <a:lnTo>
                    <a:pt x="170121" y="285532"/>
                  </a:lnTo>
                  <a:lnTo>
                    <a:pt x="172307" y="289894"/>
                  </a:lnTo>
                  <a:lnTo>
                    <a:pt x="174467" y="285532"/>
                  </a:lnTo>
                  <a:lnTo>
                    <a:pt x="179306" y="284827"/>
                  </a:lnTo>
                  <a:lnTo>
                    <a:pt x="175806" y="281441"/>
                  </a:lnTo>
                  <a:lnTo>
                    <a:pt x="176627" y="276672"/>
                  </a:lnTo>
                  <a:lnTo>
                    <a:pt x="172307" y="278921"/>
                  </a:lnTo>
                  <a:close/>
                  <a:moveTo>
                    <a:pt x="194527" y="274468"/>
                  </a:moveTo>
                  <a:lnTo>
                    <a:pt x="190704" y="277391"/>
                  </a:lnTo>
                  <a:lnTo>
                    <a:pt x="186127" y="275943"/>
                  </a:lnTo>
                  <a:lnTo>
                    <a:pt x="187742" y="280475"/>
                  </a:lnTo>
                  <a:lnTo>
                    <a:pt x="184915" y="284363"/>
                  </a:lnTo>
                  <a:lnTo>
                    <a:pt x="189761" y="284229"/>
                  </a:lnTo>
                  <a:lnTo>
                    <a:pt x="192615" y="288091"/>
                  </a:lnTo>
                  <a:lnTo>
                    <a:pt x="193961" y="283479"/>
                  </a:lnTo>
                  <a:lnTo>
                    <a:pt x="198538" y="281977"/>
                  </a:lnTo>
                  <a:lnTo>
                    <a:pt x="194554" y="279268"/>
                  </a:lnTo>
                  <a:close/>
                  <a:moveTo>
                    <a:pt x="149919" y="274468"/>
                  </a:moveTo>
                  <a:lnTo>
                    <a:pt x="149892" y="279268"/>
                  </a:lnTo>
                  <a:lnTo>
                    <a:pt x="145849" y="281977"/>
                  </a:lnTo>
                  <a:lnTo>
                    <a:pt x="150493" y="283479"/>
                  </a:lnTo>
                  <a:lnTo>
                    <a:pt x="151859" y="288091"/>
                  </a:lnTo>
                  <a:lnTo>
                    <a:pt x="154755" y="284229"/>
                  </a:lnTo>
                  <a:lnTo>
                    <a:pt x="159672" y="284363"/>
                  </a:lnTo>
                  <a:lnTo>
                    <a:pt x="156804" y="280475"/>
                  </a:lnTo>
                  <a:lnTo>
                    <a:pt x="158443" y="275943"/>
                  </a:lnTo>
                  <a:lnTo>
                    <a:pt x="153798" y="277391"/>
                  </a:lnTo>
                  <a:close/>
                  <a:moveTo>
                    <a:pt x="211844" y="268858"/>
                  </a:moveTo>
                  <a:lnTo>
                    <a:pt x="208584" y="272467"/>
                  </a:lnTo>
                  <a:lnTo>
                    <a:pt x="203747" y="271811"/>
                  </a:lnTo>
                  <a:lnTo>
                    <a:pt x="206165" y="276075"/>
                  </a:lnTo>
                  <a:lnTo>
                    <a:pt x="204046" y="280504"/>
                  </a:lnTo>
                  <a:lnTo>
                    <a:pt x="208828" y="279492"/>
                  </a:lnTo>
                  <a:lnTo>
                    <a:pt x="212334" y="282882"/>
                  </a:lnTo>
                  <a:lnTo>
                    <a:pt x="212877" y="278016"/>
                  </a:lnTo>
                  <a:lnTo>
                    <a:pt x="217170" y="275693"/>
                  </a:lnTo>
                  <a:lnTo>
                    <a:pt x="212714" y="273670"/>
                  </a:lnTo>
                  <a:close/>
                  <a:moveTo>
                    <a:pt x="132663" y="268858"/>
                  </a:moveTo>
                  <a:lnTo>
                    <a:pt x="131807" y="273670"/>
                  </a:lnTo>
                  <a:lnTo>
                    <a:pt x="127417" y="275693"/>
                  </a:lnTo>
                  <a:lnTo>
                    <a:pt x="131646" y="278016"/>
                  </a:lnTo>
                  <a:lnTo>
                    <a:pt x="132182" y="282882"/>
                  </a:lnTo>
                  <a:lnTo>
                    <a:pt x="135635" y="279492"/>
                  </a:lnTo>
                  <a:lnTo>
                    <a:pt x="140345" y="280504"/>
                  </a:lnTo>
                  <a:lnTo>
                    <a:pt x="138258" y="276075"/>
                  </a:lnTo>
                  <a:lnTo>
                    <a:pt x="140640" y="271811"/>
                  </a:lnTo>
                  <a:lnTo>
                    <a:pt x="135875" y="272467"/>
                  </a:lnTo>
                  <a:close/>
                  <a:moveTo>
                    <a:pt x="228015" y="260644"/>
                  </a:moveTo>
                  <a:lnTo>
                    <a:pt x="225418" y="264769"/>
                  </a:lnTo>
                  <a:lnTo>
                    <a:pt x="220576" y="264959"/>
                  </a:lnTo>
                  <a:lnTo>
                    <a:pt x="223687" y="268704"/>
                  </a:lnTo>
                  <a:lnTo>
                    <a:pt x="222361" y="273372"/>
                  </a:lnTo>
                  <a:lnTo>
                    <a:pt x="226879" y="271581"/>
                  </a:lnTo>
                  <a:lnTo>
                    <a:pt x="230910" y="274268"/>
                  </a:lnTo>
                  <a:lnTo>
                    <a:pt x="230585" y="269410"/>
                  </a:lnTo>
                  <a:lnTo>
                    <a:pt x="234399" y="266398"/>
                  </a:lnTo>
                  <a:lnTo>
                    <a:pt x="229692" y="265204"/>
                  </a:lnTo>
                  <a:close/>
                  <a:moveTo>
                    <a:pt x="116572" y="260644"/>
                  </a:moveTo>
                  <a:lnTo>
                    <a:pt x="114895" y="265204"/>
                  </a:lnTo>
                  <a:lnTo>
                    <a:pt x="110188" y="266398"/>
                  </a:lnTo>
                  <a:lnTo>
                    <a:pt x="114002" y="269410"/>
                  </a:lnTo>
                  <a:lnTo>
                    <a:pt x="113678" y="274268"/>
                  </a:lnTo>
                  <a:lnTo>
                    <a:pt x="117708" y="271581"/>
                  </a:lnTo>
                  <a:lnTo>
                    <a:pt x="122226" y="273372"/>
                  </a:lnTo>
                  <a:lnTo>
                    <a:pt x="120900" y="268704"/>
                  </a:lnTo>
                  <a:lnTo>
                    <a:pt x="124011" y="264959"/>
                  </a:lnTo>
                  <a:lnTo>
                    <a:pt x="119169" y="264769"/>
                  </a:lnTo>
                  <a:close/>
                  <a:moveTo>
                    <a:pt x="242363" y="249625"/>
                  </a:moveTo>
                  <a:lnTo>
                    <a:pt x="240527" y="254100"/>
                  </a:lnTo>
                  <a:lnTo>
                    <a:pt x="235802" y="255124"/>
                  </a:lnTo>
                  <a:lnTo>
                    <a:pt x="239501" y="258251"/>
                  </a:lnTo>
                  <a:lnTo>
                    <a:pt x="239015" y="263048"/>
                  </a:lnTo>
                  <a:lnTo>
                    <a:pt x="243119" y="260515"/>
                  </a:lnTo>
                  <a:lnTo>
                    <a:pt x="247546" y="262455"/>
                  </a:lnTo>
                  <a:lnTo>
                    <a:pt x="246413" y="257766"/>
                  </a:lnTo>
                  <a:lnTo>
                    <a:pt x="249625" y="254154"/>
                  </a:lnTo>
                  <a:lnTo>
                    <a:pt x="244792" y="253776"/>
                  </a:lnTo>
                  <a:close/>
                  <a:moveTo>
                    <a:pt x="102024" y="249625"/>
                  </a:moveTo>
                  <a:lnTo>
                    <a:pt x="99594" y="253776"/>
                  </a:lnTo>
                  <a:lnTo>
                    <a:pt x="94762" y="254154"/>
                  </a:lnTo>
                  <a:lnTo>
                    <a:pt x="97975" y="257766"/>
                  </a:lnTo>
                  <a:lnTo>
                    <a:pt x="96841" y="262455"/>
                  </a:lnTo>
                  <a:lnTo>
                    <a:pt x="101268" y="260515"/>
                  </a:lnTo>
                  <a:lnTo>
                    <a:pt x="105372" y="263048"/>
                  </a:lnTo>
                  <a:lnTo>
                    <a:pt x="104886" y="258251"/>
                  </a:lnTo>
                  <a:lnTo>
                    <a:pt x="108585" y="255124"/>
                  </a:lnTo>
                  <a:lnTo>
                    <a:pt x="103860" y="254100"/>
                  </a:lnTo>
                  <a:close/>
                  <a:moveTo>
                    <a:pt x="254712" y="236203"/>
                  </a:moveTo>
                  <a:lnTo>
                    <a:pt x="253690" y="240928"/>
                  </a:lnTo>
                  <a:lnTo>
                    <a:pt x="249225" y="242764"/>
                  </a:lnTo>
                  <a:lnTo>
                    <a:pt x="253394" y="245220"/>
                  </a:lnTo>
                  <a:lnTo>
                    <a:pt x="253771" y="250026"/>
                  </a:lnTo>
                  <a:lnTo>
                    <a:pt x="257348" y="246813"/>
                  </a:lnTo>
                  <a:lnTo>
                    <a:pt x="262056" y="247974"/>
                  </a:lnTo>
                  <a:lnTo>
                    <a:pt x="260119" y="243520"/>
                  </a:lnTo>
                  <a:lnTo>
                    <a:pt x="262648" y="239416"/>
                  </a:lnTo>
                  <a:lnTo>
                    <a:pt x="257833" y="239902"/>
                  </a:lnTo>
                  <a:close/>
                  <a:moveTo>
                    <a:pt x="89793" y="236203"/>
                  </a:moveTo>
                  <a:lnTo>
                    <a:pt x="86626" y="239902"/>
                  </a:lnTo>
                  <a:lnTo>
                    <a:pt x="81739" y="239416"/>
                  </a:lnTo>
                  <a:lnTo>
                    <a:pt x="84333" y="243520"/>
                  </a:lnTo>
                  <a:lnTo>
                    <a:pt x="82340" y="247974"/>
                  </a:lnTo>
                  <a:lnTo>
                    <a:pt x="87118" y="246813"/>
                  </a:lnTo>
                  <a:lnTo>
                    <a:pt x="90749" y="250026"/>
                  </a:lnTo>
                  <a:lnTo>
                    <a:pt x="91131" y="245220"/>
                  </a:lnTo>
                  <a:lnTo>
                    <a:pt x="95363" y="242764"/>
                  </a:lnTo>
                  <a:lnTo>
                    <a:pt x="90831" y="240928"/>
                  </a:lnTo>
                  <a:close/>
                  <a:moveTo>
                    <a:pt x="264558" y="220977"/>
                  </a:moveTo>
                  <a:lnTo>
                    <a:pt x="264341" y="225819"/>
                  </a:lnTo>
                  <a:lnTo>
                    <a:pt x="260243" y="228416"/>
                  </a:lnTo>
                  <a:lnTo>
                    <a:pt x="264803" y="230093"/>
                  </a:lnTo>
                  <a:lnTo>
                    <a:pt x="265997" y="234800"/>
                  </a:lnTo>
                  <a:lnTo>
                    <a:pt x="269009" y="230986"/>
                  </a:lnTo>
                  <a:lnTo>
                    <a:pt x="273867" y="231311"/>
                  </a:lnTo>
                  <a:lnTo>
                    <a:pt x="271180" y="227280"/>
                  </a:lnTo>
                  <a:lnTo>
                    <a:pt x="272971" y="222762"/>
                  </a:lnTo>
                  <a:lnTo>
                    <a:pt x="268276" y="224088"/>
                  </a:lnTo>
                  <a:close/>
                  <a:moveTo>
                    <a:pt x="80029" y="220977"/>
                  </a:moveTo>
                  <a:lnTo>
                    <a:pt x="76311" y="224088"/>
                  </a:lnTo>
                  <a:lnTo>
                    <a:pt x="71616" y="222762"/>
                  </a:lnTo>
                  <a:lnTo>
                    <a:pt x="73407" y="227280"/>
                  </a:lnTo>
                  <a:lnTo>
                    <a:pt x="70721" y="231311"/>
                  </a:lnTo>
                  <a:lnTo>
                    <a:pt x="75578" y="230986"/>
                  </a:lnTo>
                  <a:lnTo>
                    <a:pt x="78590" y="234800"/>
                  </a:lnTo>
                  <a:lnTo>
                    <a:pt x="79785" y="230093"/>
                  </a:lnTo>
                  <a:lnTo>
                    <a:pt x="84344" y="228416"/>
                  </a:lnTo>
                  <a:lnTo>
                    <a:pt x="80246" y="225819"/>
                  </a:lnTo>
                  <a:close/>
                  <a:moveTo>
                    <a:pt x="271410" y="204148"/>
                  </a:moveTo>
                  <a:lnTo>
                    <a:pt x="272066" y="208985"/>
                  </a:lnTo>
                  <a:lnTo>
                    <a:pt x="268457" y="212245"/>
                  </a:lnTo>
                  <a:lnTo>
                    <a:pt x="273269" y="213115"/>
                  </a:lnTo>
                  <a:lnTo>
                    <a:pt x="275292" y="217571"/>
                  </a:lnTo>
                  <a:lnTo>
                    <a:pt x="277615" y="213278"/>
                  </a:lnTo>
                  <a:lnTo>
                    <a:pt x="282481" y="212734"/>
                  </a:lnTo>
                  <a:lnTo>
                    <a:pt x="279091" y="209229"/>
                  </a:lnTo>
                  <a:lnTo>
                    <a:pt x="280076" y="204447"/>
                  </a:lnTo>
                  <a:lnTo>
                    <a:pt x="275674" y="206566"/>
                  </a:lnTo>
                  <a:close/>
                  <a:moveTo>
                    <a:pt x="73019" y="204148"/>
                  </a:moveTo>
                  <a:lnTo>
                    <a:pt x="68816" y="206566"/>
                  </a:lnTo>
                  <a:lnTo>
                    <a:pt x="64477" y="204447"/>
                  </a:lnTo>
                  <a:lnTo>
                    <a:pt x="65447" y="209229"/>
                  </a:lnTo>
                  <a:lnTo>
                    <a:pt x="62106" y="212734"/>
                  </a:lnTo>
                  <a:lnTo>
                    <a:pt x="66903" y="213278"/>
                  </a:lnTo>
                  <a:lnTo>
                    <a:pt x="69193" y="217571"/>
                  </a:lnTo>
                  <a:lnTo>
                    <a:pt x="71187" y="213115"/>
                  </a:lnTo>
                  <a:lnTo>
                    <a:pt x="75929" y="212245"/>
                  </a:lnTo>
                  <a:lnTo>
                    <a:pt x="72373" y="208985"/>
                  </a:lnTo>
                  <a:close/>
                  <a:moveTo>
                    <a:pt x="283915" y="185116"/>
                  </a:moveTo>
                  <a:lnTo>
                    <a:pt x="279950" y="187963"/>
                  </a:lnTo>
                  <a:lnTo>
                    <a:pt x="275388" y="186320"/>
                  </a:lnTo>
                  <a:lnTo>
                    <a:pt x="276854" y="191001"/>
                  </a:lnTo>
                  <a:lnTo>
                    <a:pt x="273867" y="194861"/>
                  </a:lnTo>
                  <a:lnTo>
                    <a:pt x="278755" y="194888"/>
                  </a:lnTo>
                  <a:lnTo>
                    <a:pt x="281498" y="198939"/>
                  </a:lnTo>
                  <a:lnTo>
                    <a:pt x="283019" y="194286"/>
                  </a:lnTo>
                  <a:lnTo>
                    <a:pt x="287690" y="192917"/>
                  </a:lnTo>
                  <a:lnTo>
                    <a:pt x="283780" y="190015"/>
                  </a:lnTo>
                  <a:close/>
                  <a:moveTo>
                    <a:pt x="60472" y="185116"/>
                  </a:moveTo>
                  <a:lnTo>
                    <a:pt x="60608" y="190015"/>
                  </a:lnTo>
                  <a:lnTo>
                    <a:pt x="56697" y="192917"/>
                  </a:lnTo>
                  <a:lnTo>
                    <a:pt x="61368" y="194286"/>
                  </a:lnTo>
                  <a:lnTo>
                    <a:pt x="62889" y="198939"/>
                  </a:lnTo>
                  <a:lnTo>
                    <a:pt x="65632" y="194888"/>
                  </a:lnTo>
                  <a:lnTo>
                    <a:pt x="70520" y="194861"/>
                  </a:lnTo>
                  <a:lnTo>
                    <a:pt x="67533" y="191001"/>
                  </a:lnTo>
                  <a:lnTo>
                    <a:pt x="68999" y="186320"/>
                  </a:lnTo>
                  <a:lnTo>
                    <a:pt x="64437" y="187963"/>
                  </a:lnTo>
                  <a:close/>
                  <a:moveTo>
                    <a:pt x="284437" y="165482"/>
                  </a:moveTo>
                  <a:lnTo>
                    <a:pt x="281057" y="168981"/>
                  </a:lnTo>
                  <a:lnTo>
                    <a:pt x="276271" y="168161"/>
                  </a:lnTo>
                  <a:lnTo>
                    <a:pt x="278542" y="172508"/>
                  </a:lnTo>
                  <a:lnTo>
                    <a:pt x="276271" y="176827"/>
                  </a:lnTo>
                  <a:lnTo>
                    <a:pt x="281057" y="176007"/>
                  </a:lnTo>
                  <a:lnTo>
                    <a:pt x="284437" y="179506"/>
                  </a:lnTo>
                  <a:lnTo>
                    <a:pt x="285140" y="174667"/>
                  </a:lnTo>
                  <a:lnTo>
                    <a:pt x="289493" y="172508"/>
                  </a:lnTo>
                  <a:lnTo>
                    <a:pt x="285140" y="170321"/>
                  </a:lnTo>
                  <a:close/>
                  <a:moveTo>
                    <a:pt x="60027" y="165482"/>
                  </a:moveTo>
                  <a:lnTo>
                    <a:pt x="59313" y="170321"/>
                  </a:lnTo>
                  <a:lnTo>
                    <a:pt x="54894" y="172508"/>
                  </a:lnTo>
                  <a:lnTo>
                    <a:pt x="59313" y="174667"/>
                  </a:lnTo>
                  <a:lnTo>
                    <a:pt x="60027" y="179506"/>
                  </a:lnTo>
                  <a:lnTo>
                    <a:pt x="63458" y="176007"/>
                  </a:lnTo>
                  <a:lnTo>
                    <a:pt x="68317" y="176827"/>
                  </a:lnTo>
                  <a:lnTo>
                    <a:pt x="66011" y="172508"/>
                  </a:lnTo>
                  <a:lnTo>
                    <a:pt x="68317" y="168161"/>
                  </a:lnTo>
                  <a:lnTo>
                    <a:pt x="63458" y="168981"/>
                  </a:lnTo>
                  <a:close/>
                  <a:moveTo>
                    <a:pt x="281498" y="146049"/>
                  </a:moveTo>
                  <a:lnTo>
                    <a:pt x="278755" y="150092"/>
                  </a:lnTo>
                  <a:lnTo>
                    <a:pt x="273867" y="150120"/>
                  </a:lnTo>
                  <a:lnTo>
                    <a:pt x="276854" y="153999"/>
                  </a:lnTo>
                  <a:lnTo>
                    <a:pt x="275388" y="158670"/>
                  </a:lnTo>
                  <a:lnTo>
                    <a:pt x="279950" y="157004"/>
                  </a:lnTo>
                  <a:lnTo>
                    <a:pt x="283915" y="159872"/>
                  </a:lnTo>
                  <a:lnTo>
                    <a:pt x="283780" y="154955"/>
                  </a:lnTo>
                  <a:lnTo>
                    <a:pt x="287690" y="152059"/>
                  </a:lnTo>
                  <a:lnTo>
                    <a:pt x="283019" y="150693"/>
                  </a:lnTo>
                  <a:close/>
                  <a:moveTo>
                    <a:pt x="62889" y="146049"/>
                  </a:moveTo>
                  <a:lnTo>
                    <a:pt x="61368" y="150693"/>
                  </a:lnTo>
                  <a:lnTo>
                    <a:pt x="56697" y="152059"/>
                  </a:lnTo>
                  <a:lnTo>
                    <a:pt x="60608" y="154955"/>
                  </a:lnTo>
                  <a:lnTo>
                    <a:pt x="60472" y="159872"/>
                  </a:lnTo>
                  <a:lnTo>
                    <a:pt x="64437" y="157004"/>
                  </a:lnTo>
                  <a:lnTo>
                    <a:pt x="68999" y="158670"/>
                  </a:lnTo>
                  <a:lnTo>
                    <a:pt x="67533" y="153999"/>
                  </a:lnTo>
                  <a:lnTo>
                    <a:pt x="70520" y="150120"/>
                  </a:lnTo>
                  <a:lnTo>
                    <a:pt x="65632" y="150092"/>
                  </a:lnTo>
                  <a:close/>
                  <a:moveTo>
                    <a:pt x="275292" y="127618"/>
                  </a:moveTo>
                  <a:lnTo>
                    <a:pt x="273269" y="132007"/>
                  </a:lnTo>
                  <a:lnTo>
                    <a:pt x="268457" y="132864"/>
                  </a:lnTo>
                  <a:lnTo>
                    <a:pt x="272066" y="136103"/>
                  </a:lnTo>
                  <a:lnTo>
                    <a:pt x="271410" y="140840"/>
                  </a:lnTo>
                  <a:lnTo>
                    <a:pt x="275674" y="138458"/>
                  </a:lnTo>
                  <a:lnTo>
                    <a:pt x="280076" y="140546"/>
                  </a:lnTo>
                  <a:lnTo>
                    <a:pt x="279091" y="135862"/>
                  </a:lnTo>
                  <a:lnTo>
                    <a:pt x="282481" y="132382"/>
                  </a:lnTo>
                  <a:lnTo>
                    <a:pt x="277615" y="131847"/>
                  </a:lnTo>
                  <a:close/>
                  <a:moveTo>
                    <a:pt x="69193" y="127618"/>
                  </a:moveTo>
                  <a:lnTo>
                    <a:pt x="66903" y="131847"/>
                  </a:lnTo>
                  <a:lnTo>
                    <a:pt x="62106" y="132382"/>
                  </a:lnTo>
                  <a:lnTo>
                    <a:pt x="65447" y="135862"/>
                  </a:lnTo>
                  <a:lnTo>
                    <a:pt x="64477" y="140546"/>
                  </a:lnTo>
                  <a:lnTo>
                    <a:pt x="68816" y="138458"/>
                  </a:lnTo>
                  <a:lnTo>
                    <a:pt x="73019" y="140840"/>
                  </a:lnTo>
                  <a:lnTo>
                    <a:pt x="72373" y="136103"/>
                  </a:lnTo>
                  <a:lnTo>
                    <a:pt x="75929" y="132864"/>
                  </a:lnTo>
                  <a:lnTo>
                    <a:pt x="71187" y="132007"/>
                  </a:lnTo>
                  <a:close/>
                  <a:moveTo>
                    <a:pt x="265997" y="110188"/>
                  </a:moveTo>
                  <a:lnTo>
                    <a:pt x="264803" y="114963"/>
                  </a:lnTo>
                  <a:lnTo>
                    <a:pt x="260243" y="116665"/>
                  </a:lnTo>
                  <a:lnTo>
                    <a:pt x="264341" y="119299"/>
                  </a:lnTo>
                  <a:lnTo>
                    <a:pt x="264558" y="124212"/>
                  </a:lnTo>
                  <a:lnTo>
                    <a:pt x="268276" y="121083"/>
                  </a:lnTo>
                  <a:lnTo>
                    <a:pt x="272971" y="122401"/>
                  </a:lnTo>
                  <a:lnTo>
                    <a:pt x="271180" y="117845"/>
                  </a:lnTo>
                  <a:lnTo>
                    <a:pt x="273867" y="113756"/>
                  </a:lnTo>
                  <a:lnTo>
                    <a:pt x="269009" y="114057"/>
                  </a:lnTo>
                  <a:close/>
                  <a:moveTo>
                    <a:pt x="78590" y="110188"/>
                  </a:moveTo>
                  <a:lnTo>
                    <a:pt x="75578" y="114057"/>
                  </a:lnTo>
                  <a:lnTo>
                    <a:pt x="70721" y="113756"/>
                  </a:lnTo>
                  <a:lnTo>
                    <a:pt x="73407" y="117845"/>
                  </a:lnTo>
                  <a:lnTo>
                    <a:pt x="71616" y="122401"/>
                  </a:lnTo>
                  <a:lnTo>
                    <a:pt x="76311" y="121083"/>
                  </a:lnTo>
                  <a:lnTo>
                    <a:pt x="80029" y="124212"/>
                  </a:lnTo>
                  <a:lnTo>
                    <a:pt x="80246" y="119299"/>
                  </a:lnTo>
                  <a:lnTo>
                    <a:pt x="84344" y="116665"/>
                  </a:lnTo>
                  <a:lnTo>
                    <a:pt x="79785" y="114963"/>
                  </a:lnTo>
                  <a:close/>
                  <a:moveTo>
                    <a:pt x="172293" y="107507"/>
                  </a:moveTo>
                  <a:cubicBezTo>
                    <a:pt x="169195" y="107507"/>
                    <a:pt x="166097" y="109253"/>
                    <a:pt x="164742" y="112163"/>
                  </a:cubicBezTo>
                  <a:lnTo>
                    <a:pt x="148477" y="145335"/>
                  </a:lnTo>
                  <a:lnTo>
                    <a:pt x="111881" y="150766"/>
                  </a:lnTo>
                  <a:cubicBezTo>
                    <a:pt x="108589" y="151154"/>
                    <a:pt x="106072" y="153482"/>
                    <a:pt x="104910" y="156392"/>
                  </a:cubicBezTo>
                  <a:cubicBezTo>
                    <a:pt x="103942" y="159496"/>
                    <a:pt x="104910" y="162988"/>
                    <a:pt x="107234" y="165121"/>
                  </a:cubicBezTo>
                  <a:lnTo>
                    <a:pt x="133567" y="190922"/>
                  </a:lnTo>
                  <a:lnTo>
                    <a:pt x="127371" y="227392"/>
                  </a:lnTo>
                  <a:cubicBezTo>
                    <a:pt x="126790" y="230689"/>
                    <a:pt x="128146" y="233987"/>
                    <a:pt x="130663" y="235733"/>
                  </a:cubicBezTo>
                  <a:cubicBezTo>
                    <a:pt x="132212" y="236897"/>
                    <a:pt x="133955" y="237479"/>
                    <a:pt x="135697" y="237479"/>
                  </a:cubicBezTo>
                  <a:cubicBezTo>
                    <a:pt x="137053" y="237479"/>
                    <a:pt x="138408" y="237091"/>
                    <a:pt x="139570" y="236509"/>
                  </a:cubicBezTo>
                  <a:lnTo>
                    <a:pt x="172293" y="219244"/>
                  </a:lnTo>
                  <a:lnTo>
                    <a:pt x="205016" y="236509"/>
                  </a:lnTo>
                  <a:cubicBezTo>
                    <a:pt x="206372" y="237091"/>
                    <a:pt x="207727" y="237479"/>
                    <a:pt x="209083" y="237479"/>
                  </a:cubicBezTo>
                  <a:cubicBezTo>
                    <a:pt x="210825" y="237479"/>
                    <a:pt x="212568" y="236897"/>
                    <a:pt x="213923" y="235733"/>
                  </a:cubicBezTo>
                  <a:cubicBezTo>
                    <a:pt x="216634" y="233987"/>
                    <a:pt x="217990" y="230689"/>
                    <a:pt x="217409" y="227392"/>
                  </a:cubicBezTo>
                  <a:lnTo>
                    <a:pt x="211213" y="190922"/>
                  </a:lnTo>
                  <a:lnTo>
                    <a:pt x="237546" y="165121"/>
                  </a:lnTo>
                  <a:cubicBezTo>
                    <a:pt x="239870" y="162988"/>
                    <a:pt x="240644" y="159496"/>
                    <a:pt x="239676" y="156392"/>
                  </a:cubicBezTo>
                  <a:cubicBezTo>
                    <a:pt x="238708" y="153482"/>
                    <a:pt x="235997" y="151154"/>
                    <a:pt x="232899" y="150766"/>
                  </a:cubicBezTo>
                  <a:lnTo>
                    <a:pt x="196303" y="145335"/>
                  </a:lnTo>
                  <a:lnTo>
                    <a:pt x="180038" y="112163"/>
                  </a:lnTo>
                  <a:cubicBezTo>
                    <a:pt x="178489" y="109253"/>
                    <a:pt x="175585" y="107507"/>
                    <a:pt x="172293" y="107507"/>
                  </a:cubicBezTo>
                  <a:close/>
                  <a:moveTo>
                    <a:pt x="253771" y="94962"/>
                  </a:moveTo>
                  <a:lnTo>
                    <a:pt x="253394" y="99795"/>
                  </a:lnTo>
                  <a:lnTo>
                    <a:pt x="249225" y="102225"/>
                  </a:lnTo>
                  <a:lnTo>
                    <a:pt x="253690" y="104061"/>
                  </a:lnTo>
                  <a:lnTo>
                    <a:pt x="254712" y="108785"/>
                  </a:lnTo>
                  <a:lnTo>
                    <a:pt x="257833" y="105114"/>
                  </a:lnTo>
                  <a:lnTo>
                    <a:pt x="262648" y="105573"/>
                  </a:lnTo>
                  <a:lnTo>
                    <a:pt x="260119" y="101469"/>
                  </a:lnTo>
                  <a:lnTo>
                    <a:pt x="262056" y="97041"/>
                  </a:lnTo>
                  <a:lnTo>
                    <a:pt x="257348" y="98175"/>
                  </a:lnTo>
                  <a:close/>
                  <a:moveTo>
                    <a:pt x="90749" y="94962"/>
                  </a:moveTo>
                  <a:lnTo>
                    <a:pt x="87118" y="98175"/>
                  </a:lnTo>
                  <a:lnTo>
                    <a:pt x="82340" y="97041"/>
                  </a:lnTo>
                  <a:lnTo>
                    <a:pt x="84333" y="101469"/>
                  </a:lnTo>
                  <a:lnTo>
                    <a:pt x="81739" y="105573"/>
                  </a:lnTo>
                  <a:lnTo>
                    <a:pt x="86626" y="105114"/>
                  </a:lnTo>
                  <a:lnTo>
                    <a:pt x="89793" y="108785"/>
                  </a:lnTo>
                  <a:lnTo>
                    <a:pt x="90831" y="104061"/>
                  </a:lnTo>
                  <a:lnTo>
                    <a:pt x="95363" y="102225"/>
                  </a:lnTo>
                  <a:lnTo>
                    <a:pt x="91131" y="99795"/>
                  </a:lnTo>
                  <a:close/>
                  <a:moveTo>
                    <a:pt x="239015" y="81940"/>
                  </a:moveTo>
                  <a:lnTo>
                    <a:pt x="239501" y="86827"/>
                  </a:lnTo>
                  <a:lnTo>
                    <a:pt x="235802" y="89993"/>
                  </a:lnTo>
                  <a:lnTo>
                    <a:pt x="240527" y="91031"/>
                  </a:lnTo>
                  <a:lnTo>
                    <a:pt x="242363" y="95563"/>
                  </a:lnTo>
                  <a:lnTo>
                    <a:pt x="244792" y="91331"/>
                  </a:lnTo>
                  <a:lnTo>
                    <a:pt x="249625" y="90976"/>
                  </a:lnTo>
                  <a:lnTo>
                    <a:pt x="246413" y="87318"/>
                  </a:lnTo>
                  <a:lnTo>
                    <a:pt x="247546" y="82568"/>
                  </a:lnTo>
                  <a:lnTo>
                    <a:pt x="243119" y="84533"/>
                  </a:lnTo>
                  <a:close/>
                  <a:moveTo>
                    <a:pt x="105372" y="81940"/>
                  </a:moveTo>
                  <a:lnTo>
                    <a:pt x="101268" y="84533"/>
                  </a:lnTo>
                  <a:lnTo>
                    <a:pt x="96841" y="82568"/>
                  </a:lnTo>
                  <a:lnTo>
                    <a:pt x="97975" y="87318"/>
                  </a:lnTo>
                  <a:lnTo>
                    <a:pt x="94762" y="90976"/>
                  </a:lnTo>
                  <a:lnTo>
                    <a:pt x="99594" y="91331"/>
                  </a:lnTo>
                  <a:lnTo>
                    <a:pt x="102024" y="95563"/>
                  </a:lnTo>
                  <a:lnTo>
                    <a:pt x="103860" y="91031"/>
                  </a:lnTo>
                  <a:lnTo>
                    <a:pt x="108585" y="89993"/>
                  </a:lnTo>
                  <a:lnTo>
                    <a:pt x="104886" y="86827"/>
                  </a:lnTo>
                  <a:close/>
                  <a:moveTo>
                    <a:pt x="230910" y="70720"/>
                  </a:moveTo>
                  <a:lnTo>
                    <a:pt x="226879" y="73474"/>
                  </a:lnTo>
                  <a:lnTo>
                    <a:pt x="222361" y="71629"/>
                  </a:lnTo>
                  <a:lnTo>
                    <a:pt x="223687" y="76393"/>
                  </a:lnTo>
                  <a:lnTo>
                    <a:pt x="220576" y="80193"/>
                  </a:lnTo>
                  <a:lnTo>
                    <a:pt x="225418" y="80386"/>
                  </a:lnTo>
                  <a:lnTo>
                    <a:pt x="228015" y="84544"/>
                  </a:lnTo>
                  <a:lnTo>
                    <a:pt x="229692" y="79918"/>
                  </a:lnTo>
                  <a:lnTo>
                    <a:pt x="234399" y="78706"/>
                  </a:lnTo>
                  <a:lnTo>
                    <a:pt x="230585" y="75650"/>
                  </a:lnTo>
                  <a:close/>
                  <a:moveTo>
                    <a:pt x="113678" y="70720"/>
                  </a:moveTo>
                  <a:lnTo>
                    <a:pt x="114002" y="75650"/>
                  </a:lnTo>
                  <a:lnTo>
                    <a:pt x="110188" y="78706"/>
                  </a:lnTo>
                  <a:lnTo>
                    <a:pt x="114895" y="79918"/>
                  </a:lnTo>
                  <a:lnTo>
                    <a:pt x="116572" y="84544"/>
                  </a:lnTo>
                  <a:lnTo>
                    <a:pt x="119169" y="80386"/>
                  </a:lnTo>
                  <a:lnTo>
                    <a:pt x="124011" y="80193"/>
                  </a:lnTo>
                  <a:lnTo>
                    <a:pt x="120900" y="76393"/>
                  </a:lnTo>
                  <a:lnTo>
                    <a:pt x="122226" y="71629"/>
                  </a:lnTo>
                  <a:lnTo>
                    <a:pt x="117708" y="73474"/>
                  </a:lnTo>
                  <a:close/>
                  <a:moveTo>
                    <a:pt x="212334" y="62106"/>
                  </a:moveTo>
                  <a:lnTo>
                    <a:pt x="208828" y="65489"/>
                  </a:lnTo>
                  <a:lnTo>
                    <a:pt x="204046" y="64507"/>
                  </a:lnTo>
                  <a:lnTo>
                    <a:pt x="206165" y="68900"/>
                  </a:lnTo>
                  <a:lnTo>
                    <a:pt x="203747" y="73156"/>
                  </a:lnTo>
                  <a:lnTo>
                    <a:pt x="208584" y="72501"/>
                  </a:lnTo>
                  <a:lnTo>
                    <a:pt x="211844" y="76130"/>
                  </a:lnTo>
                  <a:lnTo>
                    <a:pt x="212714" y="71301"/>
                  </a:lnTo>
                  <a:lnTo>
                    <a:pt x="217170" y="69282"/>
                  </a:lnTo>
                  <a:lnTo>
                    <a:pt x="212877" y="66962"/>
                  </a:lnTo>
                  <a:close/>
                  <a:moveTo>
                    <a:pt x="132182" y="62106"/>
                  </a:moveTo>
                  <a:lnTo>
                    <a:pt x="131646" y="66962"/>
                  </a:lnTo>
                  <a:lnTo>
                    <a:pt x="127417" y="69282"/>
                  </a:lnTo>
                  <a:lnTo>
                    <a:pt x="131807" y="71301"/>
                  </a:lnTo>
                  <a:lnTo>
                    <a:pt x="132663" y="76130"/>
                  </a:lnTo>
                  <a:lnTo>
                    <a:pt x="135875" y="72501"/>
                  </a:lnTo>
                  <a:lnTo>
                    <a:pt x="140640" y="73156"/>
                  </a:lnTo>
                  <a:lnTo>
                    <a:pt x="138258" y="68900"/>
                  </a:lnTo>
                  <a:lnTo>
                    <a:pt x="140345" y="64507"/>
                  </a:lnTo>
                  <a:lnTo>
                    <a:pt x="135635" y="65489"/>
                  </a:lnTo>
                  <a:close/>
                  <a:moveTo>
                    <a:pt x="192615" y="56897"/>
                  </a:moveTo>
                  <a:lnTo>
                    <a:pt x="189761" y="60835"/>
                  </a:lnTo>
                  <a:lnTo>
                    <a:pt x="184915" y="60672"/>
                  </a:lnTo>
                  <a:lnTo>
                    <a:pt x="187742" y="64637"/>
                  </a:lnTo>
                  <a:lnTo>
                    <a:pt x="186127" y="69227"/>
                  </a:lnTo>
                  <a:lnTo>
                    <a:pt x="190704" y="67733"/>
                  </a:lnTo>
                  <a:lnTo>
                    <a:pt x="194527" y="70720"/>
                  </a:lnTo>
                  <a:lnTo>
                    <a:pt x="194554" y="65832"/>
                  </a:lnTo>
                  <a:lnTo>
                    <a:pt x="198538" y="63089"/>
                  </a:lnTo>
                  <a:lnTo>
                    <a:pt x="193961" y="61568"/>
                  </a:lnTo>
                  <a:close/>
                  <a:moveTo>
                    <a:pt x="151859" y="56897"/>
                  </a:moveTo>
                  <a:lnTo>
                    <a:pt x="150493" y="61568"/>
                  </a:lnTo>
                  <a:lnTo>
                    <a:pt x="145849" y="63089"/>
                  </a:lnTo>
                  <a:lnTo>
                    <a:pt x="149892" y="65832"/>
                  </a:lnTo>
                  <a:lnTo>
                    <a:pt x="149919" y="70720"/>
                  </a:lnTo>
                  <a:lnTo>
                    <a:pt x="153798" y="67733"/>
                  </a:lnTo>
                  <a:lnTo>
                    <a:pt x="158443" y="69227"/>
                  </a:lnTo>
                  <a:lnTo>
                    <a:pt x="156804" y="64637"/>
                  </a:lnTo>
                  <a:lnTo>
                    <a:pt x="159672" y="60672"/>
                  </a:lnTo>
                  <a:lnTo>
                    <a:pt x="154755" y="60835"/>
                  </a:lnTo>
                  <a:close/>
                  <a:moveTo>
                    <a:pt x="172307" y="55094"/>
                  </a:moveTo>
                  <a:lnTo>
                    <a:pt x="170121" y="59447"/>
                  </a:lnTo>
                  <a:lnTo>
                    <a:pt x="165282" y="60150"/>
                  </a:lnTo>
                  <a:lnTo>
                    <a:pt x="168781" y="63530"/>
                  </a:lnTo>
                  <a:lnTo>
                    <a:pt x="167961" y="68316"/>
                  </a:lnTo>
                  <a:lnTo>
                    <a:pt x="172307" y="66045"/>
                  </a:lnTo>
                  <a:lnTo>
                    <a:pt x="176627" y="68316"/>
                  </a:lnTo>
                  <a:lnTo>
                    <a:pt x="175806" y="63530"/>
                  </a:lnTo>
                  <a:lnTo>
                    <a:pt x="179306" y="60150"/>
                  </a:lnTo>
                  <a:lnTo>
                    <a:pt x="174467" y="59447"/>
                  </a:lnTo>
                  <a:close/>
                  <a:moveTo>
                    <a:pt x="171615" y="48293"/>
                  </a:moveTo>
                  <a:cubicBezTo>
                    <a:pt x="239051" y="48293"/>
                    <a:pt x="293719" y="102961"/>
                    <a:pt x="293719" y="170398"/>
                  </a:cubicBezTo>
                  <a:cubicBezTo>
                    <a:pt x="293719" y="237834"/>
                    <a:pt x="239051" y="292503"/>
                    <a:pt x="171615" y="292503"/>
                  </a:cubicBezTo>
                  <a:cubicBezTo>
                    <a:pt x="104179" y="292503"/>
                    <a:pt x="49510" y="237834"/>
                    <a:pt x="49510" y="170398"/>
                  </a:cubicBezTo>
                  <a:cubicBezTo>
                    <a:pt x="49510" y="102961"/>
                    <a:pt x="104179" y="48293"/>
                    <a:pt x="171615" y="48293"/>
                  </a:cubicBezTo>
                  <a:close/>
                  <a:moveTo>
                    <a:pt x="171615" y="34348"/>
                  </a:moveTo>
                  <a:cubicBezTo>
                    <a:pt x="96477" y="34348"/>
                    <a:pt x="35565" y="95260"/>
                    <a:pt x="35565" y="170398"/>
                  </a:cubicBezTo>
                  <a:cubicBezTo>
                    <a:pt x="35565" y="245536"/>
                    <a:pt x="96477" y="306448"/>
                    <a:pt x="171615" y="306448"/>
                  </a:cubicBezTo>
                  <a:cubicBezTo>
                    <a:pt x="246753" y="306448"/>
                    <a:pt x="307665" y="245536"/>
                    <a:pt x="307665" y="170398"/>
                  </a:cubicBezTo>
                  <a:cubicBezTo>
                    <a:pt x="307665" y="95260"/>
                    <a:pt x="246753" y="34348"/>
                    <a:pt x="171615" y="34348"/>
                  </a:cubicBezTo>
                  <a:close/>
                  <a:moveTo>
                    <a:pt x="172307" y="0"/>
                  </a:moveTo>
                  <a:cubicBezTo>
                    <a:pt x="186784" y="0"/>
                    <a:pt x="198956" y="17777"/>
                    <a:pt x="212700" y="21468"/>
                  </a:cubicBezTo>
                  <a:cubicBezTo>
                    <a:pt x="226580" y="25187"/>
                    <a:pt x="246018" y="15932"/>
                    <a:pt x="258434" y="23124"/>
                  </a:cubicBezTo>
                  <a:cubicBezTo>
                    <a:pt x="270768" y="30235"/>
                    <a:pt x="272476" y="51703"/>
                    <a:pt x="282724" y="61936"/>
                  </a:cubicBezTo>
                  <a:cubicBezTo>
                    <a:pt x="292944" y="72195"/>
                    <a:pt x="314387" y="73905"/>
                    <a:pt x="321490" y="86254"/>
                  </a:cubicBezTo>
                  <a:cubicBezTo>
                    <a:pt x="328674" y="98684"/>
                    <a:pt x="319430" y="118144"/>
                    <a:pt x="323144" y="132040"/>
                  </a:cubicBezTo>
                  <a:cubicBezTo>
                    <a:pt x="326831" y="145801"/>
                    <a:pt x="344587" y="158014"/>
                    <a:pt x="344587" y="172508"/>
                  </a:cubicBezTo>
                  <a:cubicBezTo>
                    <a:pt x="344587" y="187001"/>
                    <a:pt x="326831" y="199214"/>
                    <a:pt x="323144" y="212975"/>
                  </a:cubicBezTo>
                  <a:cubicBezTo>
                    <a:pt x="319430" y="226844"/>
                    <a:pt x="328674" y="246304"/>
                    <a:pt x="321490" y="258734"/>
                  </a:cubicBezTo>
                  <a:cubicBezTo>
                    <a:pt x="314387" y="271083"/>
                    <a:pt x="292944" y="272793"/>
                    <a:pt x="282724" y="283052"/>
                  </a:cubicBezTo>
                  <a:cubicBezTo>
                    <a:pt x="272476" y="293312"/>
                    <a:pt x="270768" y="314753"/>
                    <a:pt x="258434" y="321891"/>
                  </a:cubicBezTo>
                  <a:cubicBezTo>
                    <a:pt x="246018" y="329056"/>
                    <a:pt x="226580" y="319801"/>
                    <a:pt x="212700" y="323520"/>
                  </a:cubicBezTo>
                  <a:cubicBezTo>
                    <a:pt x="198956" y="327211"/>
                    <a:pt x="186784" y="344988"/>
                    <a:pt x="172307" y="344988"/>
                  </a:cubicBezTo>
                  <a:cubicBezTo>
                    <a:pt x="157804" y="344988"/>
                    <a:pt x="145632" y="327211"/>
                    <a:pt x="131887" y="323520"/>
                  </a:cubicBezTo>
                  <a:cubicBezTo>
                    <a:pt x="118007" y="319801"/>
                    <a:pt x="98570" y="329056"/>
                    <a:pt x="86154" y="321891"/>
                  </a:cubicBezTo>
                  <a:cubicBezTo>
                    <a:pt x="73819" y="314753"/>
                    <a:pt x="72111" y="293312"/>
                    <a:pt x="61864" y="283052"/>
                  </a:cubicBezTo>
                  <a:cubicBezTo>
                    <a:pt x="51644" y="272793"/>
                    <a:pt x="30200" y="271083"/>
                    <a:pt x="23097" y="258734"/>
                  </a:cubicBezTo>
                  <a:cubicBezTo>
                    <a:pt x="15913" y="246304"/>
                    <a:pt x="25158" y="226844"/>
                    <a:pt x="21444" y="212975"/>
                  </a:cubicBezTo>
                  <a:cubicBezTo>
                    <a:pt x="17757" y="199214"/>
                    <a:pt x="0" y="187001"/>
                    <a:pt x="0" y="172508"/>
                  </a:cubicBezTo>
                  <a:cubicBezTo>
                    <a:pt x="0" y="158014"/>
                    <a:pt x="17757" y="145801"/>
                    <a:pt x="21444" y="132040"/>
                  </a:cubicBezTo>
                  <a:cubicBezTo>
                    <a:pt x="25158" y="118144"/>
                    <a:pt x="15913" y="98684"/>
                    <a:pt x="23097" y="86254"/>
                  </a:cubicBezTo>
                  <a:cubicBezTo>
                    <a:pt x="30200" y="73905"/>
                    <a:pt x="51644" y="72195"/>
                    <a:pt x="61864" y="61936"/>
                  </a:cubicBezTo>
                  <a:cubicBezTo>
                    <a:pt x="72111" y="51703"/>
                    <a:pt x="73819" y="30235"/>
                    <a:pt x="86154" y="23124"/>
                  </a:cubicBezTo>
                  <a:cubicBezTo>
                    <a:pt x="98570" y="15932"/>
                    <a:pt x="118007" y="25187"/>
                    <a:pt x="131887" y="21468"/>
                  </a:cubicBezTo>
                  <a:cubicBezTo>
                    <a:pt x="145632" y="17777"/>
                    <a:pt x="157804" y="0"/>
                    <a:pt x="17230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352">
              <a:extLst>
                <a:ext uri="{FF2B5EF4-FFF2-40B4-BE49-F238E27FC236}">
                  <a16:creationId xmlns:a16="http://schemas.microsoft.com/office/drawing/2014/main" id="{02E74E3F-674C-468C-B05E-B8BF34A8A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6243" y="443760"/>
              <a:ext cx="145448" cy="207954"/>
            </a:xfrm>
            <a:custGeom>
              <a:avLst/>
              <a:gdLst>
                <a:gd name="T0" fmla="*/ 3234 w 5365"/>
                <a:gd name="T1" fmla="*/ 384 h 7662"/>
                <a:gd name="T2" fmla="*/ 1547 w 5365"/>
                <a:gd name="T3" fmla="*/ 444 h 7662"/>
                <a:gd name="T4" fmla="*/ 57 w 5365"/>
                <a:gd name="T5" fmla="*/ 1235 h 7662"/>
                <a:gd name="T6" fmla="*/ 0 w 5365"/>
                <a:gd name="T7" fmla="*/ 1233 h 7662"/>
                <a:gd name="T8" fmla="*/ 1722 w 5365"/>
                <a:gd name="T9" fmla="*/ 7662 h 7662"/>
                <a:gd name="T10" fmla="*/ 3185 w 5365"/>
                <a:gd name="T11" fmla="*/ 5834 h 7662"/>
                <a:gd name="T12" fmla="*/ 5365 w 5365"/>
                <a:gd name="T13" fmla="*/ 6686 h 7662"/>
                <a:gd name="T14" fmla="*/ 3574 w 5365"/>
                <a:gd name="T15" fmla="*/ 0 h 7662"/>
                <a:gd name="T16" fmla="*/ 3234 w 5365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5" h="7662">
                  <a:moveTo>
                    <a:pt x="3234" y="384"/>
                  </a:moveTo>
                  <a:cubicBezTo>
                    <a:pt x="2776" y="649"/>
                    <a:pt x="2059" y="307"/>
                    <a:pt x="1547" y="444"/>
                  </a:cubicBezTo>
                  <a:cubicBezTo>
                    <a:pt x="1040" y="580"/>
                    <a:pt x="591" y="1235"/>
                    <a:pt x="57" y="1235"/>
                  </a:cubicBezTo>
                  <a:cubicBezTo>
                    <a:pt x="37" y="1235"/>
                    <a:pt x="18" y="1235"/>
                    <a:pt x="0" y="1233"/>
                  </a:cubicBezTo>
                  <a:lnTo>
                    <a:pt x="1722" y="7662"/>
                  </a:lnTo>
                  <a:lnTo>
                    <a:pt x="3185" y="5834"/>
                  </a:lnTo>
                  <a:lnTo>
                    <a:pt x="5365" y="6686"/>
                  </a:lnTo>
                  <a:lnTo>
                    <a:pt x="3574" y="0"/>
                  </a:lnTo>
                  <a:cubicBezTo>
                    <a:pt x="3485" y="162"/>
                    <a:pt x="3380" y="300"/>
                    <a:pt x="3234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353">
              <a:extLst>
                <a:ext uri="{FF2B5EF4-FFF2-40B4-BE49-F238E27FC236}">
                  <a16:creationId xmlns:a16="http://schemas.microsoft.com/office/drawing/2014/main" id="{DAD1C763-E31E-4212-98CA-65F48FEFF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373" y="443760"/>
              <a:ext cx="145448" cy="207954"/>
            </a:xfrm>
            <a:custGeom>
              <a:avLst/>
              <a:gdLst>
                <a:gd name="T0" fmla="*/ 2131 w 5366"/>
                <a:gd name="T1" fmla="*/ 384 h 7662"/>
                <a:gd name="T2" fmla="*/ 3818 w 5366"/>
                <a:gd name="T3" fmla="*/ 444 h 7662"/>
                <a:gd name="T4" fmla="*/ 5308 w 5366"/>
                <a:gd name="T5" fmla="*/ 1235 h 7662"/>
                <a:gd name="T6" fmla="*/ 5366 w 5366"/>
                <a:gd name="T7" fmla="*/ 1233 h 7662"/>
                <a:gd name="T8" fmla="*/ 3643 w 5366"/>
                <a:gd name="T9" fmla="*/ 7662 h 7662"/>
                <a:gd name="T10" fmla="*/ 2180 w 5366"/>
                <a:gd name="T11" fmla="*/ 5834 h 7662"/>
                <a:gd name="T12" fmla="*/ 0 w 5366"/>
                <a:gd name="T13" fmla="*/ 6686 h 7662"/>
                <a:gd name="T14" fmla="*/ 1791 w 5366"/>
                <a:gd name="T15" fmla="*/ 0 h 7662"/>
                <a:gd name="T16" fmla="*/ 2131 w 5366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6" h="7662">
                  <a:moveTo>
                    <a:pt x="2131" y="384"/>
                  </a:moveTo>
                  <a:cubicBezTo>
                    <a:pt x="2589" y="649"/>
                    <a:pt x="3306" y="307"/>
                    <a:pt x="3818" y="444"/>
                  </a:cubicBezTo>
                  <a:cubicBezTo>
                    <a:pt x="4325" y="580"/>
                    <a:pt x="4774" y="1235"/>
                    <a:pt x="5308" y="1235"/>
                  </a:cubicBezTo>
                  <a:cubicBezTo>
                    <a:pt x="5328" y="1235"/>
                    <a:pt x="5347" y="1235"/>
                    <a:pt x="5366" y="1233"/>
                  </a:cubicBezTo>
                  <a:lnTo>
                    <a:pt x="3643" y="7662"/>
                  </a:lnTo>
                  <a:lnTo>
                    <a:pt x="2180" y="5834"/>
                  </a:lnTo>
                  <a:lnTo>
                    <a:pt x="0" y="6686"/>
                  </a:lnTo>
                  <a:lnTo>
                    <a:pt x="1791" y="0"/>
                  </a:lnTo>
                  <a:cubicBezTo>
                    <a:pt x="1880" y="162"/>
                    <a:pt x="1985" y="300"/>
                    <a:pt x="2131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9900381-058A-49D1-91B1-63D7DD95F910}"/>
              </a:ext>
            </a:extLst>
          </p:cNvPr>
          <p:cNvSpPr/>
          <p:nvPr/>
        </p:nvSpPr>
        <p:spPr>
          <a:xfrm>
            <a:off x="1179226" y="1591878"/>
            <a:ext cx="10355636" cy="9079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endParaRPr lang="fr-FR" sz="2400"/>
          </a:p>
          <a:p>
            <a:pPr>
              <a:spcAft>
                <a:spcPts val="600"/>
              </a:spcAft>
            </a:pPr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5009293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75</TotalTime>
  <Words>4093</Words>
  <Application>Microsoft Office PowerPoint</Application>
  <PresentationFormat>Grand écran</PresentationFormat>
  <Paragraphs>873</Paragraphs>
  <Slides>57</Slides>
  <Notes>22</Notes>
  <HiddenSlides>0</HiddenSlides>
  <MMClips>0</MMClips>
  <ScaleCrop>false</ScaleCrop>
  <HeadingPairs>
    <vt:vector size="6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2</vt:i4>
      </vt:variant>
      <vt:variant>
        <vt:lpstr>Titres des diapositives</vt:lpstr>
      </vt:variant>
      <vt:variant>
        <vt:i4>57</vt:i4>
      </vt:variant>
    </vt:vector>
  </HeadingPairs>
  <TitlesOfParts>
    <vt:vector size="66" baseType="lpstr">
      <vt:lpstr>Arial</vt:lpstr>
      <vt:lpstr>Calibri</vt:lpstr>
      <vt:lpstr>Calibri Light</vt:lpstr>
      <vt:lpstr>Symbol</vt:lpstr>
      <vt:lpstr>Times New Roman</vt:lpstr>
      <vt:lpstr>Tw Cen MT</vt:lpstr>
      <vt:lpstr>Verdana</vt:lpstr>
      <vt:lpstr>Thème Office</vt:lpstr>
      <vt:lpstr>1_Thème Office</vt:lpstr>
      <vt:lpstr>Université de Montpellier </vt:lpstr>
      <vt:lpstr>Programme prévisionnel</vt:lpstr>
      <vt:lpstr> La classification du PCG</vt:lpstr>
      <vt:lpstr>Présentation PowerPoint</vt:lpstr>
      <vt:lpstr>Le Bilan - Patrimoine</vt:lpstr>
      <vt:lpstr>Présentation PowerPoint</vt:lpstr>
      <vt:lpstr>Présentation PowerPoint</vt:lpstr>
      <vt:lpstr>Présentation PowerPoint</vt:lpstr>
      <vt:lpstr>Le Bilan - Origin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du Bilan </vt:lpstr>
      <vt:lpstr>Présentation en tableau =&gt; Bilan fonctionnel?</vt:lpstr>
      <vt:lpstr>Présentation PowerPoint</vt:lpstr>
      <vt:lpstr>Présentation PowerPoint</vt:lpstr>
      <vt:lpstr>Présentation PowerPoint</vt:lpstr>
      <vt:lpstr>Présentation PowerPoint</vt:lpstr>
      <vt:lpstr> Les comptes du bilan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 Les comptes du bilan</vt:lpstr>
      <vt:lpstr>Présentation PowerPoint</vt:lpstr>
      <vt:lpstr>Présentation PowerPoint</vt:lpstr>
      <vt:lpstr>Présentation PowerPoint</vt:lpstr>
      <vt:lpstr>Présentation PowerPoint</vt:lpstr>
      <vt:lpstr>Rechercher dans le PCG – utilisez la liste abrégée </vt:lpstr>
      <vt:lpstr>Présentation PowerPoint</vt:lpstr>
      <vt:lpstr>Rechercher dans le PCG – utilisez la liste abrégée </vt:lpstr>
      <vt:lpstr>Présentation PowerPoint</vt:lpstr>
      <vt:lpstr> </vt:lpstr>
      <vt:lpstr>Comptabilisation - principes</vt:lpstr>
      <vt:lpstr>Comptabilisation - principes</vt:lpstr>
      <vt:lpstr>Comptabilisation - principes</vt:lpstr>
      <vt:lpstr>Comptabilisation - Vocabulaire</vt:lpstr>
      <vt:lpstr>Comptabilisation – Exemple - CAS UP1</vt:lpstr>
      <vt:lpstr>Comptabilisation – Correction UP1</vt:lpstr>
      <vt:lpstr>Comptabilisation – cas UP1 (suite) </vt:lpstr>
      <vt:lpstr>Comptabilisation – Correction UP1 (suite)</vt:lpstr>
      <vt:lpstr>Comptabilisation – oui mais comment ?</vt:lpstr>
      <vt:lpstr>Comptabilisation – oui mais comment ?</vt:lpstr>
      <vt:lpstr>Comptabilisation – oui mais comment ?</vt:lpstr>
      <vt:lpstr>Comptabilisation - Méthode</vt:lpstr>
      <vt:lpstr>Comptabilisation - Méthode</vt:lpstr>
      <vt:lpstr>Comptabilisation – Cas UP 2</vt:lpstr>
      <vt:lpstr>Comptabilisation – Correction UP2 </vt:lpstr>
      <vt:lpstr>Comptabilisation – Cas UP2 suite</vt:lpstr>
      <vt:lpstr>Comptabilisation – Correction UP2 (suite) </vt:lpstr>
      <vt:lpstr>Merci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rmation Février 2021 ATHENA SECURITE</dc:title>
  <dc:creator>christophe CHUECOS-FONT</dc:creator>
  <cp:lastModifiedBy>christophe CHUECOS-FONT</cp:lastModifiedBy>
  <cp:revision>3</cp:revision>
  <dcterms:created xsi:type="dcterms:W3CDTF">2021-02-02T18:32:53Z</dcterms:created>
  <dcterms:modified xsi:type="dcterms:W3CDTF">2021-03-12T13:13:46Z</dcterms:modified>
</cp:coreProperties>
</file>